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6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7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9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1.xml" ContentType="application/vnd.openxmlformats-officedocument.drawingml.chart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tags/tag40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80" r:id="rId3"/>
    <p:sldMasterId id="2147483701" r:id="rId4"/>
    <p:sldMasterId id="2147483754" r:id="rId5"/>
    <p:sldMasterId id="2147483775" r:id="rId6"/>
    <p:sldMasterId id="2147483790" r:id="rId7"/>
    <p:sldMasterId id="2147483802" r:id="rId8"/>
  </p:sldMasterIdLst>
  <p:notesMasterIdLst>
    <p:notesMasterId r:id="rId49"/>
  </p:notesMasterIdLst>
  <p:sldIdLst>
    <p:sldId id="2221" r:id="rId9"/>
    <p:sldId id="2195" r:id="rId10"/>
    <p:sldId id="2257" r:id="rId11"/>
    <p:sldId id="2264" r:id="rId12"/>
    <p:sldId id="2258" r:id="rId13"/>
    <p:sldId id="2259" r:id="rId14"/>
    <p:sldId id="2260" r:id="rId15"/>
    <p:sldId id="2261" r:id="rId16"/>
    <p:sldId id="2263" r:id="rId17"/>
    <p:sldId id="2240" r:id="rId18"/>
    <p:sldId id="2241" r:id="rId19"/>
    <p:sldId id="2242" r:id="rId20"/>
    <p:sldId id="2243" r:id="rId21"/>
    <p:sldId id="2244" r:id="rId22"/>
    <p:sldId id="2245" r:id="rId23"/>
    <p:sldId id="2246" r:id="rId24"/>
    <p:sldId id="2247" r:id="rId25"/>
    <p:sldId id="2248" r:id="rId26"/>
    <p:sldId id="2249" r:id="rId27"/>
    <p:sldId id="2250" r:id="rId28"/>
    <p:sldId id="2251" r:id="rId29"/>
    <p:sldId id="2252" r:id="rId30"/>
    <p:sldId id="2253" r:id="rId31"/>
    <p:sldId id="2254" r:id="rId32"/>
    <p:sldId id="2255" r:id="rId33"/>
    <p:sldId id="2256" r:id="rId34"/>
    <p:sldId id="2217" r:id="rId35"/>
    <p:sldId id="2265" r:id="rId36"/>
    <p:sldId id="2266" r:id="rId37"/>
    <p:sldId id="2267" r:id="rId38"/>
    <p:sldId id="2160" r:id="rId39"/>
    <p:sldId id="2161" r:id="rId40"/>
    <p:sldId id="2162" r:id="rId41"/>
    <p:sldId id="2165" r:id="rId42"/>
    <p:sldId id="2163" r:id="rId43"/>
    <p:sldId id="2111" r:id="rId44"/>
    <p:sldId id="2112" r:id="rId45"/>
    <p:sldId id="2117" r:id="rId46"/>
    <p:sldId id="2125" r:id="rId47"/>
    <p:sldId id="2222" r:id="rId48"/>
  </p:sldIdLst>
  <p:sldSz cx="11522075" cy="6480175"/>
  <p:notesSz cx="6858000" cy="9144000"/>
  <p:defaultTextStyle>
    <a:defPPr>
      <a:defRPr lang="ru-RU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1">
          <p15:clr>
            <a:srgbClr val="A4A3A4"/>
          </p15:clr>
        </p15:guide>
        <p15:guide id="2" pos="3629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дминистратор" initials="А" lastIdx="1" clrIdx="0">
    <p:extLst>
      <p:ext uri="{19B8F6BF-5375-455C-9EA6-DF929625EA0E}">
        <p15:presenceInfo xmlns:p15="http://schemas.microsoft.com/office/powerpoint/2012/main" userId="Администратор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15" autoAdjust="0"/>
    <p:restoredTop sz="81744" autoAdjust="0"/>
  </p:normalViewPr>
  <p:slideViewPr>
    <p:cSldViewPr>
      <p:cViewPr varScale="1">
        <p:scale>
          <a:sx n="99" d="100"/>
          <a:sy n="99" d="100"/>
        </p:scale>
        <p:origin x="1680" y="90"/>
      </p:cViewPr>
      <p:guideLst>
        <p:guide orient="horz" pos="2041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8" Type="http://schemas.openxmlformats.org/officeDocument/2006/relationships/slideMaster" Target="slideMasters/slideMaster8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0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9397907972301E-2"/>
          <c:y val="0.24759060699333088"/>
          <c:w val="0.95116811925019018"/>
          <c:h val="0.671616923649670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7</c:v>
                </c:pt>
                <c:pt idx="4">
                  <c:v>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BA-4DD4-A967-30774ECADC8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5</c:v>
                </c:pt>
                <c:pt idx="4">
                  <c:v>4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BA-4DD4-A967-30774ECADC8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</c:numCache>
            </c:numRef>
          </c:cat>
          <c:val>
            <c:numRef>
              <c:f>Лист1!$D$2:$D$8</c:f>
              <c:numCache>
                <c:formatCode>General</c:formatCode>
                <c:ptCount val="7"/>
              </c:numCache>
            </c:numRef>
          </c:val>
          <c:extLst>
            <c:ext xmlns:c16="http://schemas.microsoft.com/office/drawing/2014/chart" uri="{C3380CC4-5D6E-409C-BE32-E72D297353CC}">
              <c16:uniqueId val="{00000002-C0BA-4DD4-A967-30774ECADC8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441575096"/>
        <c:axId val="441575752"/>
      </c:barChart>
      <c:catAx>
        <c:axId val="441575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1575752"/>
        <c:crosses val="autoZero"/>
        <c:auto val="1"/>
        <c:lblAlgn val="ctr"/>
        <c:lblOffset val="100"/>
        <c:noMultiLvlLbl val="0"/>
      </c:catAx>
      <c:valAx>
        <c:axId val="441575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41575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Несоответствия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о категориям</a:t>
            </a:r>
          </a:p>
        </c:rich>
      </c:tx>
      <c:layout>
        <c:manualLayout>
          <c:xMode val="edge"/>
          <c:yMode val="edge"/>
          <c:x val="0.34290484925176656"/>
          <c:y val="2.75910913362886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37778470361391953"/>
          <c:y val="0.19649455546660266"/>
          <c:w val="0.24443046258727102"/>
          <c:h val="0.679843042174902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19CA-4CA4-B581-1B2276B3F5A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19CA-4CA4-B581-1B2276B3F5A2}"/>
              </c:ext>
            </c:extLst>
          </c:dPt>
          <c:dPt>
            <c:idx val="2"/>
            <c:bubble3D val="0"/>
            <c:spPr>
              <a:solidFill>
                <a:srgbClr val="C00000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5-19CA-4CA4-B581-1B2276B3F5A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7-19CA-4CA4-B581-1B2276B3F5A2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9-19CA-4CA4-B581-1B2276B3F5A2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hade val="51000"/>
                      <a:satMod val="130000"/>
                    </a:schemeClr>
                  </a:gs>
                  <a:gs pos="80000">
                    <a:schemeClr val="accent6">
                      <a:shade val="93000"/>
                      <a:satMod val="130000"/>
                    </a:schemeClr>
                  </a:gs>
                  <a:gs pos="100000">
                    <a:schemeClr val="accent6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B-19CA-4CA4-B581-1B2276B3F5A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Условия труда на рабочих местах</c:v>
                </c:pt>
                <c:pt idx="1">
                  <c:v>Работы повышенной опасности</c:v>
                </c:pt>
                <c:pt idx="2">
                  <c:v>Пожарная безопасность</c:v>
                </c:pt>
                <c:pt idx="3">
                  <c:v>СИЗ</c:v>
                </c:pt>
                <c:pt idx="4">
                  <c:v>Промышленная безопасность</c:v>
                </c:pt>
                <c:pt idx="5">
                  <c:v>Остальные 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3</c:v>
                </c:pt>
                <c:pt idx="1">
                  <c:v>7</c:v>
                </c:pt>
                <c:pt idx="2">
                  <c:v>12</c:v>
                </c:pt>
                <c:pt idx="3">
                  <c:v>7</c:v>
                </c:pt>
                <c:pt idx="4">
                  <c:v>10</c:v>
                </c:pt>
                <c:pt idx="5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7A-43AC-8FEC-62C67C5427E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55653871184394788"/>
          <c:y val="0.19657747357573663"/>
          <c:w val="0.44346128815605212"/>
          <c:h val="0.702255191524538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Петровский</a:t>
            </a:r>
            <a:r>
              <a:rPr lang="ru-RU" sz="1800" baseline="0" dirty="0" smtClean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 монолит</a:t>
            </a:r>
            <a:r>
              <a:rPr lang="ru-RU" sz="1800" dirty="0" smtClean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 </a:t>
            </a:r>
            <a:endParaRPr lang="ru-RU" sz="1800" dirty="0"/>
          </a:p>
        </c:rich>
      </c:tx>
      <c:layout>
        <c:manualLayout>
          <c:xMode val="edge"/>
          <c:yMode val="edge"/>
          <c:x val="0.68806869211309007"/>
          <c:y val="2.5573261968319584E-2"/>
        </c:manualLayout>
      </c:layout>
      <c:overlay val="0"/>
      <c:spPr>
        <a:noFill/>
        <a:ln w="9525" cap="flat" cmpd="sng" algn="ctr">
          <a:solidFill>
            <a:schemeClr val="bg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9.8867026481789896E-2"/>
          <c:y val="0.22974408661103501"/>
          <c:w val="0.79183187678928457"/>
          <c:h val="0.64754664546397012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2</c:v>
                </c:pt>
              </c:strCache>
            </c:strRef>
          </c:tx>
          <c:spPr>
            <a:ln w="22225" cap="rnd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9041-485F-A030-EDD685C4600E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rgbClr val="C00000"/>
                        </a:solidFill>
                      </a:rPr>
                      <a:t>2,09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041-485F-A030-EDD685C4600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12FD6696-EEE7-45F7-B993-7A2A4EA63618}" type="VALUE">
                      <a:rPr lang="en-US">
                        <a:solidFill>
                          <a:srgbClr val="C00000"/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041-485F-A030-EDD685C460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.09</c:v>
                </c:pt>
                <c:pt idx="1">
                  <c:v>2.09</c:v>
                </c:pt>
                <c:pt idx="2">
                  <c:v>1.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041-485F-A030-EDD685C4600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156390144"/>
        <c:axId val="156391680"/>
      </c:lineChart>
      <c:catAx>
        <c:axId val="156390144"/>
        <c:scaling>
          <c:orientation val="minMax"/>
        </c:scaling>
        <c:delete val="0"/>
        <c:axPos val="b"/>
        <c:minorGridlines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391680"/>
        <c:crosses val="autoZero"/>
        <c:auto val="1"/>
        <c:lblAlgn val="ctr"/>
        <c:lblOffset val="100"/>
        <c:noMultiLvlLbl val="0"/>
      </c:catAx>
      <c:valAx>
        <c:axId val="156391680"/>
        <c:scaling>
          <c:orientation val="minMax"/>
          <c:min val="0.9"/>
        </c:scaling>
        <c:delete val="0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КФ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39014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zero"/>
    <c:showDLblsOverMax val="0"/>
  </c:chart>
  <c:spPr>
    <a:solidFill>
      <a:schemeClr val="accent4">
        <a:lumMod val="20000"/>
        <a:lumOff val="80000"/>
      </a:schemeClr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9397907972309E-2"/>
          <c:y val="0.24759060699333091"/>
          <c:w val="0.95116811925019062"/>
          <c:h val="0.671616923649671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</c:numCache>
            </c:num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46</c:v>
                </c:pt>
                <c:pt idx="1">
                  <c:v>29</c:v>
                </c:pt>
                <c:pt idx="2">
                  <c:v>69</c:v>
                </c:pt>
                <c:pt idx="3">
                  <c:v>446</c:v>
                </c:pt>
                <c:pt idx="4">
                  <c:v>371</c:v>
                </c:pt>
                <c:pt idx="5">
                  <c:v>62</c:v>
                </c:pt>
                <c:pt idx="6">
                  <c:v>103</c:v>
                </c:pt>
                <c:pt idx="7">
                  <c:v>165</c:v>
                </c:pt>
                <c:pt idx="8">
                  <c:v>426</c:v>
                </c:pt>
                <c:pt idx="9">
                  <c:v>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9A-497A-9E3B-DBD88D77017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</c:numCache>
            </c:num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33</c:v>
                </c:pt>
                <c:pt idx="1">
                  <c:v>24</c:v>
                </c:pt>
                <c:pt idx="2">
                  <c:v>36</c:v>
                </c:pt>
                <c:pt idx="3">
                  <c:v>403</c:v>
                </c:pt>
                <c:pt idx="4">
                  <c:v>280</c:v>
                </c:pt>
                <c:pt idx="5">
                  <c:v>30</c:v>
                </c:pt>
                <c:pt idx="6">
                  <c:v>82</c:v>
                </c:pt>
                <c:pt idx="7">
                  <c:v>56</c:v>
                </c:pt>
                <c:pt idx="8">
                  <c:v>261</c:v>
                </c:pt>
                <c:pt idx="9">
                  <c:v>1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9A-497A-9E3B-DBD88D77017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11</c:f>
              <c:numCache>
                <c:formatCode>General</c:formatCode>
                <c:ptCount val="10"/>
              </c:numCache>
            </c:numRef>
          </c:cat>
          <c:val>
            <c:numRef>
              <c:f>Лист1!$D$2:$D$11</c:f>
              <c:numCache>
                <c:formatCode>General</c:formatCode>
                <c:ptCount val="10"/>
              </c:numCache>
            </c:numRef>
          </c:val>
          <c:extLst>
            <c:ext xmlns:c16="http://schemas.microsoft.com/office/drawing/2014/chart" uri="{C3380CC4-5D6E-409C-BE32-E72D297353CC}">
              <c16:uniqueId val="{00000002-779A-497A-9E3B-DBD88D77017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156857088"/>
        <c:axId val="156858624"/>
      </c:barChart>
      <c:catAx>
        <c:axId val="156857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858624"/>
        <c:crosses val="autoZero"/>
        <c:auto val="1"/>
        <c:lblAlgn val="ctr"/>
        <c:lblOffset val="100"/>
        <c:noMultiLvlLbl val="0"/>
      </c:catAx>
      <c:valAx>
        <c:axId val="156858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8570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9397907972311E-2"/>
          <c:y val="0.24759060699333091"/>
          <c:w val="0.95116811925019062"/>
          <c:h val="0.671616923649671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рушение правил эксплуатации ЭО</c:v>
                </c:pt>
                <c:pt idx="1">
                  <c:v>ПБ зданий и помещений</c:v>
                </c:pt>
                <c:pt idx="2">
                  <c:v>Огневые работы</c:v>
                </c:pt>
                <c:pt idx="3">
                  <c:v>Средства пожаротушения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</c:v>
                </c:pt>
                <c:pt idx="1">
                  <c:v>60</c:v>
                </c:pt>
                <c:pt idx="2">
                  <c:v>303</c:v>
                </c:pt>
                <c:pt idx="3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46-4AEB-96E3-A248327D0F5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рушение правил эксплуатации ЭО</c:v>
                </c:pt>
                <c:pt idx="1">
                  <c:v>ПБ зданий и помещений</c:v>
                </c:pt>
                <c:pt idx="2">
                  <c:v>Огневые работы</c:v>
                </c:pt>
                <c:pt idx="3">
                  <c:v>Средства пожаротушения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9</c:v>
                </c:pt>
                <c:pt idx="1">
                  <c:v>40</c:v>
                </c:pt>
                <c:pt idx="2">
                  <c:v>312</c:v>
                </c:pt>
                <c:pt idx="3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46-4AEB-96E3-A248327D0F50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Нарушение правил эксплуатации ЭО</c:v>
                </c:pt>
                <c:pt idx="1">
                  <c:v>ПБ зданий и помещений</c:v>
                </c:pt>
                <c:pt idx="2">
                  <c:v>Огневые работы</c:v>
                </c:pt>
                <c:pt idx="3">
                  <c:v>Средства пожаротушения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A946-4AEB-96E3-A248327D0F5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156927872"/>
        <c:axId val="156929408"/>
      </c:barChart>
      <c:catAx>
        <c:axId val="156927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929408"/>
        <c:crosses val="autoZero"/>
        <c:auto val="1"/>
        <c:lblAlgn val="ctr"/>
        <c:lblOffset val="100"/>
        <c:noMultiLvlLbl val="0"/>
      </c:catAx>
      <c:valAx>
        <c:axId val="1569294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92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00" b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1.10.-31.12</a:t>
            </a:r>
            <a:endParaRPr lang="ru-RU" sz="10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c:rich>
      </c:tx>
      <c:layout>
        <c:manualLayout>
          <c:xMode val="edge"/>
          <c:yMode val="edge"/>
          <c:x val="0.34421920655598165"/>
          <c:y val="7.827626679439757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пасные действия/ситуации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7C6-4D54-B312-C3AF657637F0}"/>
              </c:ext>
            </c:extLst>
          </c:dPt>
          <c:dPt>
            <c:idx val="1"/>
            <c:bubble3D val="0"/>
            <c:spPr>
              <a:solidFill>
                <a:srgbClr val="F4F0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7C6-4D54-B312-C3AF657637F0}"/>
              </c:ext>
            </c:extLst>
          </c:dPt>
          <c:dPt>
            <c:idx val="2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66B1-471D-B886-5852E8B3AE6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Допустимый</c:v>
                </c:pt>
                <c:pt idx="1">
                  <c:v>Умеренный</c:v>
                </c:pt>
                <c:pt idx="2">
                  <c:v>Высоки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244</c:v>
                </c:pt>
                <c:pt idx="2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C6-4D54-B312-C3AF657637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4162598523649004E-2"/>
          <c:y val="0.80171538608513881"/>
          <c:w val="0.90879234460769232"/>
          <c:h val="0.11004952523342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00" b="0" dirty="0" smtClean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01.01-01.04</a:t>
            </a:r>
            <a:endParaRPr lang="ru-RU" sz="1000" b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c:rich>
      </c:tx>
      <c:layout>
        <c:manualLayout>
          <c:xMode val="edge"/>
          <c:yMode val="edge"/>
          <c:x val="0.32243112531950252"/>
          <c:y val="8.00756296741860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пасные действия/ситуации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071-46F1-A56C-0D950B48A732}"/>
              </c:ext>
            </c:extLst>
          </c:dPt>
          <c:dPt>
            <c:idx val="1"/>
            <c:bubble3D val="0"/>
            <c:spPr>
              <a:solidFill>
                <a:srgbClr val="F4F0AA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071-46F1-A56C-0D950B48A732}"/>
              </c:ext>
            </c:extLst>
          </c:dPt>
          <c:dPt>
            <c:idx val="2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69C1-4C5E-98E6-09CB075D428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Допустимый</c:v>
                </c:pt>
                <c:pt idx="1">
                  <c:v>Умеренный</c:v>
                </c:pt>
                <c:pt idx="2">
                  <c:v>Высокий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3</c:v>
                </c:pt>
                <c:pt idx="1">
                  <c:v>200</c:v>
                </c:pt>
                <c:pt idx="2">
                  <c:v>1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71-46F1-A56C-0D950B48A7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8044979991504771E-2"/>
          <c:y val="0.81100042692471896"/>
          <c:w val="0.88435387836921453"/>
          <c:h val="0.115577415682368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3175"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200" dirty="0" smtClean="0"/>
              <a:t>ПО</a:t>
            </a:r>
            <a:r>
              <a:rPr lang="ru-RU" sz="1200" baseline="0" dirty="0" smtClean="0"/>
              <a:t> с большим количеством замечаний в категории ПБ</a:t>
            </a:r>
            <a:endParaRPr lang="ru-RU" sz="12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6396901240363973"/>
          <c:y val="0.18730036940339967"/>
          <c:w val="0.95116811925019062"/>
          <c:h val="0.6642682063104098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-во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УММ-2</c:v>
                </c:pt>
                <c:pt idx="1">
                  <c:v>Артекс</c:v>
                </c:pt>
                <c:pt idx="2">
                  <c:v>Стройновация</c:v>
                </c:pt>
                <c:pt idx="3">
                  <c:v>Ру Строй</c:v>
                </c:pt>
                <c:pt idx="4">
                  <c:v>Альфа Инж.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2</c:v>
                </c:pt>
                <c:pt idx="1">
                  <c:v>22</c:v>
                </c:pt>
                <c:pt idx="2">
                  <c:v>26</c:v>
                </c:pt>
                <c:pt idx="3">
                  <c:v>27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199-40B8-8407-6890F44777F5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УММ-2</c:v>
                </c:pt>
                <c:pt idx="1">
                  <c:v>Артекс</c:v>
                </c:pt>
                <c:pt idx="2">
                  <c:v>Стройновация</c:v>
                </c:pt>
                <c:pt idx="3">
                  <c:v>Ру Строй</c:v>
                </c:pt>
                <c:pt idx="4">
                  <c:v>Альфа Инж.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8199-40B8-8407-6890F44777F5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6</c:f>
              <c:strCache>
                <c:ptCount val="5"/>
                <c:pt idx="0">
                  <c:v>УММ-2</c:v>
                </c:pt>
                <c:pt idx="1">
                  <c:v>Артекс</c:v>
                </c:pt>
                <c:pt idx="2">
                  <c:v>Стройновация</c:v>
                </c:pt>
                <c:pt idx="3">
                  <c:v>Ру Строй</c:v>
                </c:pt>
                <c:pt idx="4">
                  <c:v>Альфа Инж.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4-8199-40B8-8407-6890F44777F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99"/>
        <c:axId val="156927872"/>
        <c:axId val="156929408"/>
      </c:barChart>
      <c:catAx>
        <c:axId val="1569278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none" spc="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929408"/>
        <c:crosses val="autoZero"/>
        <c:auto val="1"/>
        <c:lblAlgn val="ctr"/>
        <c:lblOffset val="100"/>
        <c:noMultiLvlLbl val="0"/>
      </c:catAx>
      <c:valAx>
        <c:axId val="156929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927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>
                <a:solidFill>
                  <a:schemeClr val="dk1"/>
                </a:solidFill>
                <a:latin typeface="+mn-lt"/>
                <a:ea typeface="+mn-ea"/>
                <a:cs typeface="+mn-cs"/>
              </a:rPr>
              <a:t>Сновел </a:t>
            </a:r>
            <a:endParaRPr lang="ru-RU" sz="1800" dirty="0"/>
          </a:p>
        </c:rich>
      </c:tx>
      <c:layout>
        <c:manualLayout>
          <c:xMode val="edge"/>
          <c:yMode val="edge"/>
          <c:x val="0.87560707341657629"/>
          <c:y val="3.0943410587205542E-2"/>
        </c:manualLayout>
      </c:layout>
      <c:overlay val="0"/>
      <c:spPr>
        <a:noFill/>
        <a:ln w="9525" cap="flat" cmpd="sng" algn="ctr">
          <a:solidFill>
            <a:schemeClr val="bg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c:spPr>
    </c:title>
    <c:autoTitleDeleted val="0"/>
    <c:plotArea>
      <c:layout>
        <c:manualLayout>
          <c:layoutTarget val="inner"/>
          <c:xMode val="edge"/>
          <c:yMode val="edge"/>
          <c:x val="9.8867026481789896E-2"/>
          <c:y val="0.22974408661103501"/>
          <c:w val="0.79183187678928457"/>
          <c:h val="0.64754664546397012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Б</c:v>
                </c:pt>
              </c:strCache>
            </c:strRef>
          </c:tx>
          <c:spPr>
            <a:ln w="22225" cap="rnd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EEA-4C6D-8611-CAEECC6F6D87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rPr>
                      <a:t>1,06</a:t>
                    </a:r>
                    <a:endParaRPr lang="en-US" dirty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AD8-48C8-8A34-4F753F2B2F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.23</c:v>
                </c:pt>
                <c:pt idx="1">
                  <c:v>1.06</c:v>
                </c:pt>
                <c:pt idx="2">
                  <c:v>1.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AD8-48C8-8A34-4F753F2B2FE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156390144"/>
        <c:axId val="156391680"/>
      </c:lineChart>
      <c:catAx>
        <c:axId val="156390144"/>
        <c:scaling>
          <c:orientation val="minMax"/>
        </c:scaling>
        <c:delete val="0"/>
        <c:axPos val="b"/>
        <c:minorGridlines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391680"/>
        <c:crosses val="autoZero"/>
        <c:auto val="1"/>
        <c:lblAlgn val="ctr"/>
        <c:lblOffset val="100"/>
        <c:noMultiLvlLbl val="0"/>
      </c:catAx>
      <c:valAx>
        <c:axId val="156391680"/>
        <c:scaling>
          <c:orientation val="minMax"/>
          <c:min val="0.9"/>
        </c:scaling>
        <c:delete val="0"/>
        <c:axPos val="l"/>
        <c:majorGridlines>
          <c:spPr>
            <a:ln>
              <a:solidFill>
                <a:schemeClr val="dk1">
                  <a:lumMod val="15000"/>
                  <a:lumOff val="85000"/>
                </a:schemeClr>
              </a:solidFill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97" b="0" i="0" u="none" strike="noStrike" kern="1200" cap="all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dirty="0"/>
                  <a:t>КФ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6390144"/>
        <c:crosses val="autoZero"/>
        <c:crossBetween val="between"/>
      </c:valAx>
      <c:spPr>
        <a:solidFill>
          <a:schemeClr val="accent4">
            <a:lumMod val="20000"/>
            <a:lumOff val="80000"/>
          </a:schemeClr>
        </a:solidFill>
        <a:ln>
          <a:noFill/>
        </a:ln>
        <a:effectLst/>
      </c:spPr>
    </c:plotArea>
    <c:plotVisOnly val="1"/>
    <c:dispBlanksAs val="zero"/>
    <c:showDLblsOverMax val="0"/>
  </c:chart>
  <c:spPr>
    <a:solidFill>
      <a:schemeClr val="accent4">
        <a:lumMod val="20000"/>
        <a:lumOff val="80000"/>
      </a:schemeClr>
    </a:solidFill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>
                <a:solidFill>
                  <a:schemeClr val="bg1">
                    <a:lumMod val="50000"/>
                  </a:schemeClr>
                </a:solidFill>
              </a:rPr>
              <a:t>Не соответствия по категориям Январь</a:t>
            </a:r>
          </a:p>
        </c:rich>
      </c:tx>
      <c:layout>
        <c:manualLayout>
          <c:xMode val="edge"/>
          <c:yMode val="edge"/>
          <c:x val="0.22342491916102894"/>
          <c:y val="8.26275212927198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21566057377904796"/>
          <c:y val="0.2455967340452607"/>
          <c:w val="0.26293400892068713"/>
          <c:h val="0.5785283753613262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51DC-41F5-BCFC-18DA3A89A13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51DC-41F5-BCFC-18DA3A89A13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1871-4B55-B2CA-91AD90339201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7-51DC-41F5-BCFC-18DA3A89A13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Работы повышенной опасности</c:v>
                </c:pt>
                <c:pt idx="1">
                  <c:v>Пожарная безопасност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</c:v>
                </c:pt>
                <c:pt idx="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71-4B55-B2CA-91AD903392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8589508573121504"/>
          <c:y val="0.1873276387739716"/>
          <c:w val="0.50020666563364313"/>
          <c:h val="0.780010725876140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Не соответствия по категория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Февраль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- Март</a:t>
            </a:r>
          </a:p>
        </c:rich>
      </c:tx>
      <c:layout>
        <c:manualLayout>
          <c:xMode val="edge"/>
          <c:yMode val="edge"/>
          <c:x val="0.27579673687050649"/>
          <c:y val="1.1568544853041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hade val="51000"/>
                      <a:satMod val="130000"/>
                    </a:schemeClr>
                  </a:gs>
                  <a:gs pos="80000">
                    <a:schemeClr val="accent1">
                      <a:shade val="93000"/>
                      <a:satMod val="130000"/>
                    </a:schemeClr>
                  </a:gs>
                  <a:gs pos="100000">
                    <a:schemeClr val="accent1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2-F2BE-4104-AC20-86211D426327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hade val="51000"/>
                      <a:satMod val="130000"/>
                    </a:schemeClr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AAA2-4273-889F-4632789FDC0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1EBF955-5EFE-4976-BBB4-5C79657ADCBC}" type="VALUE">
                      <a:rPr lang="en-US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F2BE-4104-AC20-86211D42632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587CF21-38A4-4507-B4E0-F2FE7AA8B065}" type="VALUE">
                      <a:rPr lang="en-US">
                        <a:solidFill>
                          <a:schemeClr val="bg1">
                            <a:lumMod val="50000"/>
                          </a:schemeClr>
                        </a:solidFill>
                      </a:rPr>
                      <a:pPr/>
                      <a:t>[ЗНАЧЕНИЕ]</a:t>
                    </a:fld>
                    <a:endParaRPr lang="ru-RU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AA2-4273-889F-4632789FDC0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Работы повышеноой опасности</c:v>
                </c:pt>
                <c:pt idx="1">
                  <c:v>пожарная безопасност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</c:v>
                </c:pt>
                <c:pt idx="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BE-4104-AC20-86211D4263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3270844851663766"/>
          <c:y val="0.25274404067405465"/>
          <c:w val="0.35114028535845743"/>
          <c:h val="0.59804624358704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b="0" kern="1200" cap="none" spc="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dk1">
          <a:lumMod val="15000"/>
          <a:lumOff val="85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810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8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200" b="0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round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027</cdr:x>
      <cdr:y>0.54708</cdr:y>
    </cdr:from>
    <cdr:to>
      <cdr:x>0.23027</cdr:x>
      <cdr:y>0.67684</cdr:y>
    </cdr:to>
    <cdr:cxnSp macro="">
      <cdr:nvCxnSpPr>
        <cdr:cNvPr id="9" name="Прямая со стрелкой 8"/>
        <cdr:cNvCxnSpPr/>
      </cdr:nvCxnSpPr>
      <cdr:spPr>
        <a:xfrm xmlns:a="http://schemas.openxmlformats.org/drawingml/2006/main">
          <a:off x="2488599" y="910828"/>
          <a:ext cx="0" cy="216024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2361</cdr:x>
      <cdr:y>0.54518</cdr:y>
    </cdr:from>
    <cdr:to>
      <cdr:x>0.23027</cdr:x>
      <cdr:y>0.54518</cdr:y>
    </cdr:to>
    <cdr:cxnSp macro="">
      <cdr:nvCxnSpPr>
        <cdr:cNvPr id="13" name="Прямая соединительная линия 12"/>
        <cdr:cNvCxnSpPr/>
      </cdr:nvCxnSpPr>
      <cdr:spPr>
        <a:xfrm xmlns:a="http://schemas.openxmlformats.org/drawingml/2006/main" flipH="1">
          <a:off x="2416591" y="907657"/>
          <a:ext cx="72008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362</cdr:x>
      <cdr:y>0.47323</cdr:y>
    </cdr:from>
    <cdr:to>
      <cdr:x>0.22361</cdr:x>
      <cdr:y>0.57389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2200566" y="787871"/>
          <a:ext cx="216024" cy="1675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900" dirty="0" smtClean="0">
              <a:solidFill>
                <a:srgbClr val="C00000"/>
              </a:solidFill>
            </a:rPr>
            <a:t>+1</a:t>
          </a:r>
          <a:endParaRPr lang="ru-RU" sz="90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63672</cdr:x>
      <cdr:y>0.31587</cdr:y>
    </cdr:from>
    <cdr:to>
      <cdr:x>0.63672</cdr:x>
      <cdr:y>0.43052</cdr:y>
    </cdr:to>
    <cdr:cxnSp macro="">
      <cdr:nvCxnSpPr>
        <cdr:cNvPr id="18" name="Прямая со стрелкой 17"/>
        <cdr:cNvCxnSpPr/>
      </cdr:nvCxnSpPr>
      <cdr:spPr>
        <a:xfrm xmlns:a="http://schemas.openxmlformats.org/drawingml/2006/main">
          <a:off x="6881087" y="525887"/>
          <a:ext cx="0" cy="190885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034</cdr:x>
      <cdr:y>0.31587</cdr:y>
    </cdr:from>
    <cdr:to>
      <cdr:x>0.61007</cdr:x>
      <cdr:y>0.31587</cdr:y>
    </cdr:to>
    <cdr:cxnSp macro="">
      <cdr:nvCxnSpPr>
        <cdr:cNvPr id="20" name="Прямая соединительная линия 19"/>
        <cdr:cNvCxnSpPr/>
      </cdr:nvCxnSpPr>
      <cdr:spPr>
        <a:xfrm xmlns:a="http://schemas.openxmlformats.org/drawingml/2006/main">
          <a:off x="6521047" y="525887"/>
          <a:ext cx="72008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006</cdr:x>
      <cdr:y>0.31587</cdr:y>
    </cdr:from>
    <cdr:to>
      <cdr:x>0.63672</cdr:x>
      <cdr:y>0.31587</cdr:y>
    </cdr:to>
    <cdr:cxnSp macro="">
      <cdr:nvCxnSpPr>
        <cdr:cNvPr id="22" name="Прямая соединительная линия 21"/>
        <cdr:cNvCxnSpPr/>
      </cdr:nvCxnSpPr>
      <cdr:spPr>
        <a:xfrm xmlns:a="http://schemas.openxmlformats.org/drawingml/2006/main" flipH="1">
          <a:off x="6809079" y="525887"/>
          <a:ext cx="72008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0655</cdr:x>
      <cdr:y>0.24462</cdr:y>
    </cdr:from>
    <cdr:to>
      <cdr:x>0.63421</cdr:x>
      <cdr:y>0.35499</cdr:y>
    </cdr:to>
    <cdr:sp macro="" textlink="">
      <cdr:nvSpPr>
        <cdr:cNvPr id="23" name="TextBox 22"/>
        <cdr:cNvSpPr txBox="1"/>
      </cdr:nvSpPr>
      <cdr:spPr>
        <a:xfrm xmlns:a="http://schemas.openxmlformats.org/drawingml/2006/main">
          <a:off x="6555047" y="407264"/>
          <a:ext cx="298924" cy="18375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900" dirty="0" smtClean="0">
              <a:solidFill>
                <a:srgbClr val="C00000"/>
              </a:solidFill>
            </a:rPr>
            <a:t>+2</a:t>
          </a:r>
          <a:endParaRPr lang="ru-RU" sz="90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74333</cdr:x>
      <cdr:y>0.54518</cdr:y>
    </cdr:from>
    <cdr:to>
      <cdr:x>0.74333</cdr:x>
      <cdr:y>0.76334</cdr:y>
    </cdr:to>
    <cdr:cxnSp macro="">
      <cdr:nvCxnSpPr>
        <cdr:cNvPr id="25" name="Прямая соединительная линия 24"/>
        <cdr:cNvCxnSpPr/>
      </cdr:nvCxnSpPr>
      <cdr:spPr>
        <a:xfrm xmlns:a="http://schemas.openxmlformats.org/drawingml/2006/main" flipV="1">
          <a:off x="8033215" y="907657"/>
          <a:ext cx="0" cy="363211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7121</cdr:x>
      <cdr:y>0.54518</cdr:y>
    </cdr:from>
    <cdr:to>
      <cdr:x>0.77121</cdr:x>
      <cdr:y>0.69845</cdr:y>
    </cdr:to>
    <cdr:cxnSp macro="">
      <cdr:nvCxnSpPr>
        <cdr:cNvPr id="27" name="Прямая со стрелкой 26"/>
        <cdr:cNvCxnSpPr/>
      </cdr:nvCxnSpPr>
      <cdr:spPr>
        <a:xfrm xmlns:a="http://schemas.openxmlformats.org/drawingml/2006/main">
          <a:off x="8334575" y="907657"/>
          <a:ext cx="0" cy="255186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333</cdr:x>
      <cdr:y>0.54518</cdr:y>
    </cdr:from>
    <cdr:to>
      <cdr:x>0.749</cdr:x>
      <cdr:y>0.54518</cdr:y>
    </cdr:to>
    <cdr:cxnSp macro="">
      <cdr:nvCxnSpPr>
        <cdr:cNvPr id="29" name="Прямая соединительная линия 28"/>
        <cdr:cNvCxnSpPr/>
      </cdr:nvCxnSpPr>
      <cdr:spPr>
        <a:xfrm xmlns:a="http://schemas.openxmlformats.org/drawingml/2006/main">
          <a:off x="8033215" y="907657"/>
          <a:ext cx="61307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6332</cdr:x>
      <cdr:y>0.54518</cdr:y>
    </cdr:from>
    <cdr:to>
      <cdr:x>0.77121</cdr:x>
      <cdr:y>0.54518</cdr:y>
    </cdr:to>
    <cdr:cxnSp macro="">
      <cdr:nvCxnSpPr>
        <cdr:cNvPr id="31" name="Прямая соединительная линия 30"/>
        <cdr:cNvCxnSpPr/>
      </cdr:nvCxnSpPr>
      <cdr:spPr>
        <a:xfrm xmlns:a="http://schemas.openxmlformats.org/drawingml/2006/main" flipH="1">
          <a:off x="8249239" y="907657"/>
          <a:ext cx="85336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333</cdr:x>
      <cdr:y>0.47323</cdr:y>
    </cdr:from>
    <cdr:to>
      <cdr:x>0.76606</cdr:x>
      <cdr:y>0.58001</cdr:y>
    </cdr:to>
    <cdr:sp macro="" textlink="">
      <cdr:nvSpPr>
        <cdr:cNvPr id="32" name="TextBox 31"/>
        <cdr:cNvSpPr txBox="1"/>
      </cdr:nvSpPr>
      <cdr:spPr>
        <a:xfrm xmlns:a="http://schemas.openxmlformats.org/drawingml/2006/main">
          <a:off x="8033215" y="787871"/>
          <a:ext cx="245666" cy="1777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900" dirty="0" smtClean="0">
              <a:solidFill>
                <a:srgbClr val="C00000"/>
              </a:solidFill>
            </a:rPr>
            <a:t>+1</a:t>
          </a:r>
          <a:endParaRPr lang="ru-RU" sz="900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49451</cdr:x>
      <cdr:y>0.22037</cdr:y>
    </cdr:from>
    <cdr:to>
      <cdr:x>0.53449</cdr:x>
      <cdr:y>0.3198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344220" y="366888"/>
          <a:ext cx="432048" cy="1656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8489</cdr:x>
      <cdr:y>0.17396</cdr:y>
    </cdr:from>
    <cdr:to>
      <cdr:x>0.50487</cdr:x>
      <cdr:y>0.2887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5240209" y="289619"/>
          <a:ext cx="216024" cy="1911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900" dirty="0" smtClean="0">
              <a:solidFill>
                <a:srgbClr val="00B050"/>
              </a:solidFill>
            </a:rPr>
            <a:t>-2</a:t>
          </a:r>
          <a:endParaRPr lang="ru-RU" sz="900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993</cdr:x>
      <cdr:y>0.28349</cdr:y>
    </cdr:from>
    <cdr:to>
      <cdr:x>0.4993</cdr:x>
      <cdr:y>0.36994</cdr:y>
    </cdr:to>
    <cdr:cxnSp macro="">
      <cdr:nvCxnSpPr>
        <cdr:cNvPr id="8" name="Прямая со стрелкой 7"/>
        <cdr:cNvCxnSpPr/>
      </cdr:nvCxnSpPr>
      <cdr:spPr>
        <a:xfrm xmlns:a="http://schemas.openxmlformats.org/drawingml/2006/main">
          <a:off x="5395980" y="471979"/>
          <a:ext cx="0" cy="143925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7702</cdr:x>
      <cdr:y>0.51352</cdr:y>
    </cdr:from>
    <cdr:to>
      <cdr:x>0.10773</cdr:x>
      <cdr:y>0.68172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832415" y="854946"/>
          <a:ext cx="331862" cy="28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900" dirty="0" smtClean="0">
              <a:solidFill>
                <a:srgbClr val="00B050"/>
              </a:solidFill>
            </a:rPr>
            <a:t>-1</a:t>
          </a:r>
          <a:endParaRPr lang="ru-RU" sz="900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0637</cdr:x>
      <cdr:y>0.59033</cdr:y>
    </cdr:from>
    <cdr:to>
      <cdr:x>0.08295</cdr:x>
      <cdr:y>0.59033</cdr:y>
    </cdr:to>
    <cdr:cxnSp macro="">
      <cdr:nvCxnSpPr>
        <cdr:cNvPr id="15" name="Прямая соединительная линия 14"/>
        <cdr:cNvCxnSpPr/>
      </cdr:nvCxnSpPr>
      <cdr:spPr>
        <a:xfrm xmlns:a="http://schemas.openxmlformats.org/drawingml/2006/main" flipH="1">
          <a:off x="688399" y="982836"/>
          <a:ext cx="208057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637</cdr:x>
      <cdr:y>0.59033</cdr:y>
    </cdr:from>
    <cdr:to>
      <cdr:x>0.0637</cdr:x>
      <cdr:y>0.69845</cdr:y>
    </cdr:to>
    <cdr:cxnSp macro="">
      <cdr:nvCxnSpPr>
        <cdr:cNvPr id="17" name="Прямая соединительная линия 16"/>
        <cdr:cNvCxnSpPr/>
      </cdr:nvCxnSpPr>
      <cdr:spPr>
        <a:xfrm xmlns:a="http://schemas.openxmlformats.org/drawingml/2006/main">
          <a:off x="688399" y="982836"/>
          <a:ext cx="0" cy="180007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9035</cdr:x>
      <cdr:y>0.62276</cdr:y>
    </cdr:from>
    <cdr:to>
      <cdr:x>0.09035</cdr:x>
      <cdr:y>0.77414</cdr:y>
    </cdr:to>
    <cdr:cxnSp macro="">
      <cdr:nvCxnSpPr>
        <cdr:cNvPr id="21" name="Прямая со стрелкой 20"/>
        <cdr:cNvCxnSpPr/>
      </cdr:nvCxnSpPr>
      <cdr:spPr>
        <a:xfrm xmlns:a="http://schemas.openxmlformats.org/drawingml/2006/main">
          <a:off x="976431" y="1036829"/>
          <a:ext cx="0" cy="25202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chemeClr val="tx1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650DE9-B017-49E6-8636-0C58DB10E7C6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AD7469-598B-4074-9061-13BEE392770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8942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 день коллеги. Сегодня мы</a:t>
            </a:r>
            <a:r>
              <a:rPr lang="ru-RU" baseline="0" dirty="0" smtClean="0"/>
              <a:t> проводим день безопасности с подрядными организациям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8281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ЛАЙД 17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Выксунской производственной площадке организован процесс проверки знаний, в виде тестирования, персонала подрядных организаций, привлекаемых для выполнения строительно-монтажных, ремонтных и др. работ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ноябре 2021 года осуществлен ввод в опытно-промышленную эксплуатацию терминалов для тестирования. На данный момент организовано три точки, где возможно пройти тестирование 1. На территории строительной площадки ТПЦ(строй городок 1) 2. Эколант (АБК-2) 3. Гамма городок общежитие №5.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 какой целью организовано тестирование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Автоматизированной Системе Управления Безопасностью разрабатывается модуль «Выдача нарядов-допусков». При формировании наряда-допуска программа даст возможность занести в состав ответственных лиц за организацию и безопасное производство работ (допускающий, ответственный за подготовку места работ, производитель работ, исполнитель) только тех сотрудников, которые пройдут тестирование и чьи данные, на момент формирования наряда-допуска, будут занесены в базу системы. Работники, не прошедшие проверку знаний(тестирование) не будут допущены к выполнению работ. Т.е. тестирование необходимо для формирования базы сотрудников допускаемых к выполнению работ по наряду-допуску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7351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ЛАЙД 18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Что необходимо сделать со стороны подрядной организации для организации процесса прохождения тестирования своими работниками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возможности организации тестирования сотрудниками Отдела по работе с подрядными организациями в адрес подрядных организаций была произведена рассылка формы таблицы для внесения в нее данных. Также таблица размещена на сайте «Школа подрядчика» в разделе Памятки и алгоритмы. Подрядная организация вносит в таблицу данные сотрудников, привлекаемых к выполнению работ с назначенными им курсами в соответствии с имеющимися у них квалификациями и видам выполняемых работ. Заполненную таблицу Подрядная организация направляет в адрес ОРПО. Сотрудники отдела загружают данные в систему и после этого персонал Подрядной организации будет иметь возможность пройти тестирование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89429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ЛАЙД 19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всех участников тестирования будут доступны обучающие курсы по каждому виду тестов. Ознакомится с материалами возможно перед прохождением теста непосредственно на терминале в структуре курса, а также на сайте «Школа подрядчика». Каждый сотрудник, зарегистрированный в системе, после входа в личный кабинет, будет иметь возможность ознакомится с материалами курсов. Весь обучающий материал представлен в виде презентаций. Всех приглашаем пройти тестирование. </a:t>
            </a: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99987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ЛАЙД 20</a:t>
            </a:r>
          </a:p>
          <a:p>
            <a:r>
              <a:rPr lang="ru-RU" dirty="0" smtClean="0"/>
              <a:t>По вопросам координации процесса тестирования обращаться в отдел по работе с подрядными организациями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5854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ЛАЙД 22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соответствии с СОГЛАШЕНИЕМ О соблюдении законодательства в области охраны труда, промышленной, пожарной и безопасности дорожного движения, радиационной безопасности, а также охраны окружающей сред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трагент обязуется ознакомиться с Руководством пользователя Автоматизированной системой управления безопасностью АО «ВМЗ» (далее – АСУБ). Контрагент обеспечивает устранение выявленных нарушений требований в области охраны труда, промышленной, пожарной, безопасности дорожного движения и радиационной безопасности, охраны окружающей среды при выполнении работ/услуг в рамках договорных обязательств и информирование о фактах устранения посредством работы в АСУБ. Контрагент обязуется обеспечить проведение и регистрацию аудитов безопасности собственным персоналом при выполнении работ в рамках договорных обязательств.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данный момент поменялась платформа на которой функционирует Автоматизированная Система Управления Безопасностью, поменялся привычный всем интерфейс системы, но основной функционал системы не изменился. Для входа в систему первоначально необходимо ввести стандартный пароль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r-1234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лее вводим уже существующий пароль или новый пароль. После входа открывается стартовая страниц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8846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3</a:t>
            </a:r>
          </a:p>
          <a:p>
            <a:r>
              <a:rPr lang="ru-RU" b="0" dirty="0" smtClean="0"/>
              <a:t>Для регистрации наблюдений заходим в модуль АУДИТЫ БЕЗОПАСНОСТИ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43189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4</a:t>
            </a:r>
          </a:p>
          <a:p>
            <a:r>
              <a:rPr lang="ru-RU" b="0" dirty="0" smtClean="0"/>
              <a:t>На открывшейся странице выбираем вкладку ЗАРЕГИСТРИРОВАТЬ НАБЛЮДЕНИЕ, далее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75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5</a:t>
            </a:r>
          </a:p>
          <a:p>
            <a:pPr marL="0" marR="0" lvl="0" indent="0" algn="l" defTabSz="8638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0" dirty="0" smtClean="0"/>
              <a:t>В разделе Базовая Информация заполняем</a:t>
            </a:r>
            <a:r>
              <a:rPr lang="ru-RU" b="0" baseline="0" dirty="0" smtClean="0"/>
              <a:t> необходимые</a:t>
            </a:r>
            <a:r>
              <a:rPr lang="ru-RU" b="0" dirty="0" smtClean="0"/>
              <a:t> поля:</a:t>
            </a:r>
            <a:r>
              <a:rPr lang="ru-RU" b="0" baseline="0" dirty="0" smtClean="0"/>
              <a:t> </a:t>
            </a:r>
            <a:r>
              <a:rPr kumimoji="0" lang="ru-RU" sz="1038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одразделение в котором проводился аудит, Описание наблюдения</a:t>
            </a:r>
            <a:r>
              <a:rPr kumimoji="0" lang="ru-RU" sz="103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kumimoji="0" lang="ru-RU" sz="1038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писание места, Устанавливаем дату устранения несоответствия и выбираем из списка </a:t>
            </a:r>
            <a:endParaRPr kumimoji="0" lang="ru-RU" sz="1701" b="0" i="0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0" marR="0" lvl="0" indent="0" algn="l" defTabSz="8638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38" b="0" i="0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Исполнителя. </a:t>
            </a:r>
          </a:p>
          <a:p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4010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6</a:t>
            </a:r>
          </a:p>
          <a:p>
            <a:r>
              <a:rPr lang="ru-RU" b="0" dirty="0" smtClean="0"/>
              <a:t>Для выбора Категории и Характера наблюдения в данной вкладке нажимаем ИЗМЕНИТЬ,</a:t>
            </a:r>
            <a:r>
              <a:rPr lang="ru-RU" b="0" baseline="0" dirty="0" smtClean="0"/>
              <a:t> в открывшемся ДЕРЕВЕ КАТЕГОРИЙ выбираем нужную категорию, подкатегорию и характер. После этого нажимаем ВЫБРАТЬ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75376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7</a:t>
            </a:r>
          </a:p>
          <a:p>
            <a:r>
              <a:rPr lang="ru-RU" b="0" dirty="0" smtClean="0"/>
              <a:t>После</a:t>
            </a:r>
            <a:r>
              <a:rPr lang="ru-RU" b="0" baseline="0" dirty="0" smtClean="0"/>
              <a:t> выбора данная вкладка заполняется 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8060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 день коллеги. Сегодня мы</a:t>
            </a:r>
            <a:r>
              <a:rPr lang="ru-RU" baseline="0" dirty="0" smtClean="0"/>
              <a:t> проводим день безопасности с подрядными организациями. По традиции начнём с контакта по безопасности. Связан он будет с ДТП, но начнём с истории…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26129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8</a:t>
            </a:r>
          </a:p>
          <a:p>
            <a:r>
              <a:rPr lang="ru-RU" b="0" dirty="0" smtClean="0"/>
              <a:t>Для того, чтобы добавить необходимые файлы нажимаем ДОБАВИТЬ ФАЙЛЫ,</a:t>
            </a:r>
            <a:r>
              <a:rPr lang="ru-RU" b="0" baseline="0" dirty="0" smtClean="0"/>
              <a:t> выбираем необходимый, сохраняем и файлы будут загружены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61158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29</a:t>
            </a:r>
          </a:p>
          <a:p>
            <a:r>
              <a:rPr lang="ru-RU" b="0" dirty="0" smtClean="0"/>
              <a:t>После того , как все</a:t>
            </a:r>
            <a:r>
              <a:rPr lang="ru-RU" b="0" baseline="0" dirty="0" smtClean="0"/>
              <a:t> поля будут заполнены, вся необходимая информация занесена, нажимаем СОХРАНИТЬ.  Наблюдение зарегистрировано в системе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75551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ЛАЙД 30</a:t>
            </a:r>
          </a:p>
          <a:p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 факту выявления нарушений, совершенных работниками ПО, представителями Компании производится оповещение по адресу электронной почты, указанной в договоре, посредством АСУБ (далее - Задача) с указанием даты, вида нарушения,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писанием.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обходимо пройти по ссылке на задачу, ознакомится с информацией – Дата проведения, автор, описание наблюдения, плановый срок устранения несоответствия. После этого произвести устранение нарушения, результаты направить в указанные в Задаче сроки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F48EFD-EF96-4F77-8530-19A451676A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51884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dirty="0" smtClean="0"/>
              <a:t>СЛАЙД 31</a:t>
            </a:r>
          </a:p>
          <a:p>
            <a:r>
              <a:rPr lang="ru-RU" b="0" dirty="0" smtClean="0"/>
              <a:t>Для этого необходимо открыть задачу.</a:t>
            </a:r>
            <a:endParaRPr lang="ru-RU" b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F48EFD-EF96-4F77-8530-19A451676A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755210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ЛАЙД 32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открывшемся поле «ДЕЙСТВИЯ ПО ЗАДАЧЕ» отметить выполнение, внести комментарий о выполнении задачи (устранении несоответствия) и сохранить. После этого задача приходит на утверждение автору. Если по каким-то причинам исполнить задачу в указанный срок не представляется возможным, то в комментариях можно запросить перенос срока на исполнение задачи с указанием причин.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ращаю ваше внимание на то, что к задаче не допустимо писать комментарии такие как - Принято; Устраним; Проработаем; Исправимся;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орошо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очу напомнить о том, что в соответствии с СОГЛАШЕНИЕМ О соблюдении законодательства в области охраны труда, промышленной, пожарной и безопасности дорожного движения, радиационной безопасности, а также охраны окружающей сред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оформленна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направленная Задача на исполнение посредством АСУБ, а также неисполненная в установленные сроки Задача является основанием для применения мер – запрета доступа на территорию АО «ВМЗ» как работника, так и непосредственного руководителя, который уполномочен осуществлять контроль за деятельностью работника, нарушившего требования Компании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F48EFD-EF96-4F77-8530-19A451676A6A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97457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смотрим динамику изменения коэффициента безопасности за период с </a:t>
            </a:r>
            <a:r>
              <a:rPr lang="ru-RU" dirty="0" smtClean="0"/>
              <a:t>1.01.2022г</a:t>
            </a:r>
            <a:r>
              <a:rPr lang="ru-RU" dirty="0"/>
              <a:t>. по </a:t>
            </a:r>
            <a:r>
              <a:rPr lang="ru-RU" dirty="0" smtClean="0"/>
              <a:t>31.03.2022г</a:t>
            </a:r>
            <a:r>
              <a:rPr lang="ru-RU" dirty="0"/>
              <a:t>. на примере Подрядных Организаций с положительной и отрицательной динамикой. Брался средний коэффициент на основе всех оценок за каждый месяц данного периода</a:t>
            </a:r>
            <a:r>
              <a:rPr lang="ru-RU" dirty="0" smtClean="0"/>
              <a:t>. В оценке учитываются  наблюдения  с высоким, умеренным, допустимым</a:t>
            </a:r>
            <a:r>
              <a:rPr lang="ru-RU" baseline="0" dirty="0" smtClean="0"/>
              <a:t> рисками повторные наблюдения, не выполненные в срок  блокировки пропусков остановка работ и средняя оценка по чек листу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5289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/>
              <a:t>На </a:t>
            </a:r>
            <a:r>
              <a:rPr lang="ru-RU" dirty="0"/>
              <a:t>данных </a:t>
            </a:r>
            <a:r>
              <a:rPr lang="ru-RU" dirty="0" smtClean="0"/>
              <a:t>диаграммы</a:t>
            </a:r>
            <a:r>
              <a:rPr lang="ru-RU" baseline="0" dirty="0" smtClean="0"/>
              <a:t> представлена </a:t>
            </a:r>
            <a:r>
              <a:rPr lang="ru-RU" dirty="0" err="1" smtClean="0"/>
              <a:t>Организациияс</a:t>
            </a:r>
            <a:r>
              <a:rPr lang="ru-RU" dirty="0" smtClean="0"/>
              <a:t> </a:t>
            </a:r>
            <a:r>
              <a:rPr lang="ru-RU" dirty="0"/>
              <a:t>положительной динамикой изменения коэффициента безопасности, чем ниже коэффициент – тем выше безопасность проводимых работ. Целевой показатель, к которому нужно стремиться – 1(лучший результат).</a:t>
            </a:r>
          </a:p>
          <a:p>
            <a:r>
              <a:rPr lang="ru-RU" dirty="0"/>
              <a:t>На примере компании </a:t>
            </a:r>
            <a:r>
              <a:rPr lang="ru-RU" dirty="0" smtClean="0"/>
              <a:t>Сновел </a:t>
            </a:r>
            <a:r>
              <a:rPr lang="ru-RU" dirty="0"/>
              <a:t>видим повышенный коэффициент в </a:t>
            </a:r>
            <a:r>
              <a:rPr lang="ru-RU" dirty="0" smtClean="0"/>
              <a:t>Январе месяце(2,23).  </a:t>
            </a:r>
            <a:r>
              <a:rPr lang="ru-RU" dirty="0"/>
              <a:t>ОБЩЕЕ Кол-во замечаний за данный период </a:t>
            </a:r>
            <a:r>
              <a:rPr lang="ru-RU" dirty="0" smtClean="0"/>
              <a:t>-16. </a:t>
            </a:r>
            <a:r>
              <a:rPr lang="ru-RU" dirty="0"/>
              <a:t>ПРИЧИНА </a:t>
            </a:r>
            <a:r>
              <a:rPr lang="ru-RU" dirty="0" smtClean="0"/>
              <a:t>: </a:t>
            </a:r>
            <a:r>
              <a:rPr lang="ru-RU" dirty="0"/>
              <a:t>большое кол-во замечание в области Пожарной </a:t>
            </a:r>
            <a:r>
              <a:rPr lang="ru-RU" dirty="0" smtClean="0"/>
              <a:t>Безопасности(12</a:t>
            </a:r>
            <a:r>
              <a:rPr lang="ru-RU" baseline="0" dirty="0" smtClean="0"/>
              <a:t> </a:t>
            </a:r>
            <a:r>
              <a:rPr lang="ru-RU" dirty="0" smtClean="0"/>
              <a:t>замечаний </a:t>
            </a:r>
            <a:r>
              <a:rPr lang="ru-RU" dirty="0"/>
              <a:t>за период </a:t>
            </a:r>
            <a:r>
              <a:rPr lang="ru-RU" dirty="0" smtClean="0"/>
              <a:t>января), </a:t>
            </a:r>
            <a:r>
              <a:rPr lang="ru-RU" dirty="0"/>
              <a:t>основные несоответствия; 1. Отсутствие Первичных Средств Пожаротушения; 2.  Место производства огневых работ не очищено от горючих </a:t>
            </a:r>
            <a:r>
              <a:rPr lang="ru-RU" dirty="0" smtClean="0"/>
              <a:t>материалов,</a:t>
            </a:r>
            <a:r>
              <a:rPr lang="ru-RU" baseline="0" dirty="0" smtClean="0"/>
              <a:t> также повлияло то что 11 наблюдений не закрыто в срок.</a:t>
            </a:r>
            <a:endParaRPr lang="ru-RU" dirty="0"/>
          </a:p>
          <a:p>
            <a:r>
              <a:rPr lang="ru-RU" dirty="0"/>
              <a:t>За последующие два месяца наблюдается падения уровня коэффициента безопасности(положительная динамика). Общее кол-во замечаний, за период </a:t>
            </a:r>
            <a:r>
              <a:rPr lang="ru-RU" dirty="0" smtClean="0"/>
              <a:t>с</a:t>
            </a:r>
            <a:r>
              <a:rPr lang="ru-RU" baseline="0" dirty="0" smtClean="0"/>
              <a:t> февраля по март</a:t>
            </a:r>
            <a:r>
              <a:rPr lang="ru-RU" dirty="0" smtClean="0"/>
              <a:t>, </a:t>
            </a:r>
            <a:r>
              <a:rPr lang="ru-RU" dirty="0"/>
              <a:t>уменьшилось </a:t>
            </a:r>
            <a:r>
              <a:rPr lang="ru-RU" dirty="0" smtClean="0"/>
              <a:t>8</a:t>
            </a:r>
            <a:r>
              <a:rPr lang="ru-RU" baseline="0" dirty="0" smtClean="0"/>
              <a:t> наблюдений за 2 месяца</a:t>
            </a:r>
            <a:r>
              <a:rPr lang="ru-RU" dirty="0" smtClean="0"/>
              <a:t>. </a:t>
            </a:r>
            <a:r>
              <a:rPr lang="ru-RU" dirty="0"/>
              <a:t>З. Кол-во </a:t>
            </a:r>
            <a:r>
              <a:rPr lang="ru-RU" dirty="0" smtClean="0"/>
              <a:t>Несоответствий</a:t>
            </a:r>
            <a:r>
              <a:rPr lang="ru-RU" baseline="0" dirty="0" smtClean="0"/>
              <a:t> по работам повышенной опасности</a:t>
            </a:r>
            <a:r>
              <a:rPr lang="ru-RU" dirty="0" smtClean="0"/>
              <a:t> </a:t>
            </a:r>
            <a:r>
              <a:rPr lang="ru-RU" dirty="0"/>
              <a:t>уменьшилось с </a:t>
            </a:r>
            <a:r>
              <a:rPr lang="ru-RU" dirty="0" smtClean="0"/>
              <a:t>4 </a:t>
            </a:r>
            <a:r>
              <a:rPr lang="ru-RU" dirty="0"/>
              <a:t>до </a:t>
            </a:r>
            <a:r>
              <a:rPr lang="ru-RU" dirty="0" smtClean="0"/>
              <a:t>1. </a:t>
            </a:r>
            <a:r>
              <a:rPr lang="ru-RU" dirty="0"/>
              <a:t>По пожарной безопасности с </a:t>
            </a:r>
            <a:r>
              <a:rPr lang="ru-RU" dirty="0" smtClean="0"/>
              <a:t>12</a:t>
            </a:r>
            <a:r>
              <a:rPr lang="ru-RU" baseline="0" dirty="0" smtClean="0"/>
              <a:t> </a:t>
            </a:r>
            <a:r>
              <a:rPr lang="ru-RU" dirty="0" smtClean="0"/>
              <a:t>до 7 </a:t>
            </a:r>
            <a:r>
              <a:rPr lang="ru-RU" dirty="0"/>
              <a:t>за тот же период. Общее кол-во нарушений с ВЫСОКИМ РИСКОМ уменьшилось с </a:t>
            </a:r>
            <a:r>
              <a:rPr lang="ru-RU" dirty="0" smtClean="0"/>
              <a:t>12</a:t>
            </a:r>
            <a:endParaRPr lang="ru-RU" dirty="0"/>
          </a:p>
          <a:p>
            <a:r>
              <a:rPr lang="ru-RU" dirty="0"/>
              <a:t> до </a:t>
            </a:r>
            <a:r>
              <a:rPr lang="ru-RU" dirty="0" smtClean="0"/>
              <a:t>8 </a:t>
            </a:r>
            <a:r>
              <a:rPr lang="ru-RU" dirty="0"/>
              <a:t>за аналогичный период</a:t>
            </a:r>
            <a:r>
              <a:rPr lang="ru-RU" dirty="0" smtClean="0"/>
              <a:t>. Благодаря взаимодействию компании Сновел с отделом Супервайзеров</a:t>
            </a:r>
            <a:r>
              <a:rPr lang="ru-RU" baseline="0" dirty="0" smtClean="0"/>
              <a:t> виден положительный результат соблюдения требований в области охраны труда.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753592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Само</a:t>
            </a:r>
            <a:r>
              <a:rPr lang="ru-RU" baseline="0" dirty="0" smtClean="0"/>
              <a:t> взаимодействие заключается в следующем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4127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Здесь мы видим динамика отрицательная  как мы видим на примере Петровского монолита ,</a:t>
            </a:r>
            <a:r>
              <a:rPr lang="ru-RU" baseline="0" dirty="0" smtClean="0"/>
              <a:t> коэффициент находится  около 2 этому предшествуют 69 наблюдений  из них  9 ОД  60 ОС , по категориям, условия труда на рабочих местах  10, пожарная безопасность 12, работы повышенной опасности  7,  СИЗ 7, промышленная безопасность 10,  остальные 20, за данный период у организации заблокировано 4 сотрудника ИТР из них двое по третьему разу пропуск заблокирован навсегда, блокировки за не надлежащий контроль за проведением работ. Данная организация не развивается в области соблюдения требований охраны труда и застыла на одном месте. Советуем производителям работ подрядных организаций более ответственно относится к подготовке рабочего места и следить за подчинённым персоналом при выполнении работ повышенной опасности. Если что-то не понятно или есть вопросы по организации работ повышенной опасности всегда можно обратится в отдел по работе с подрядными организациями за консультацией.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81665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 день</a:t>
            </a:r>
            <a:r>
              <a:rPr lang="ru-RU" baseline="0" dirty="0" smtClean="0"/>
              <a:t> уважаемые коллеги и руководители.</a:t>
            </a:r>
          </a:p>
          <a:p>
            <a:r>
              <a:rPr lang="ru-RU" baseline="0" dirty="0" smtClean="0"/>
              <a:t>Сегодня я расскажу вам об инструментах, которые были нами внедрены.</a:t>
            </a:r>
          </a:p>
          <a:p>
            <a:r>
              <a:rPr lang="ru-RU" baseline="0" dirty="0" smtClean="0"/>
              <a:t>Как уже сказал мой коллега Дмитрий, у нас есть рейтинг подрядных организаций.</a:t>
            </a:r>
          </a:p>
          <a:p>
            <a:r>
              <a:rPr lang="ru-RU" baseline="0" dirty="0" smtClean="0"/>
              <a:t>Работ с аутсайдерами ведется на постоянной основе, что бы донести до руководителя проблемные места в его организации и разработать мероприятия для исключение подобных несоответствий.</a:t>
            </a:r>
          </a:p>
          <a:p>
            <a:r>
              <a:rPr lang="ru-RU" baseline="0" dirty="0" smtClean="0"/>
              <a:t>Так вот если руководитель организации не желает взаимодействовать с представителями Дирекции по безопасности производства, то данную компанию будут приглашать на комитет по работе с подрядными организациями.</a:t>
            </a:r>
          </a:p>
          <a:p>
            <a:r>
              <a:rPr lang="ru-RU" baseline="0" dirty="0" smtClean="0"/>
              <a:t>Первое заседание комитета уже было проведено 6 апреля.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441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Первое в мире дорожно-транспортное происшествие с жертвами среди людей было зарегистрировано 17 августа 1896 года в Лондоне……..  Кто ни будь знает или может предположит какой вид происшествия это был?...... Это был наезд на пешехода….. Некий Артур </a:t>
            </a:r>
            <a:r>
              <a:rPr lang="ru-RU" baseline="0" dirty="0" err="1" smtClean="0"/>
              <a:t>Эдсэлл</a:t>
            </a:r>
            <a:r>
              <a:rPr lang="ru-RU" baseline="0" dirty="0" smtClean="0"/>
              <a:t>(стаж вождения 3 недели…кстати по тем временам может быть это было не так уж и мало) управляя автомобилем совершил наезд на англичанку </a:t>
            </a:r>
            <a:r>
              <a:rPr lang="ru-RU" baseline="0" dirty="0" err="1" smtClean="0"/>
              <a:t>Бриджит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Дрисколл</a:t>
            </a:r>
            <a:r>
              <a:rPr lang="ru-RU" baseline="0" dirty="0" smtClean="0"/>
              <a:t> вследствие чего от полученных травм женщина скончалась. Водитель ехал с превышением скорости( превысил ограничение в 4мили/час в два раза), отвлёкся и вовремя не заметил пешехода. И контакт наш посвящён БЕЗОПАСНОСТИ ПЕШЕХОДОВ В ТЁМНОЕ ВРЕМЯ СУТОК.</a:t>
            </a:r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51527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Комитет по работе с подрядными организациями утвержден приказом 27 декабря 2021 года.</a:t>
            </a:r>
          </a:p>
          <a:p>
            <a:r>
              <a:rPr lang="ru-RU" dirty="0" smtClean="0"/>
              <a:t>Председателем</a:t>
            </a:r>
            <a:r>
              <a:rPr lang="ru-RU" baseline="0" dirty="0" smtClean="0"/>
              <a:t> комитета является </a:t>
            </a:r>
            <a:r>
              <a:rPr lang="ru-RU" baseline="0" dirty="0" err="1" smtClean="0"/>
              <a:t>дироектор</a:t>
            </a:r>
            <a:r>
              <a:rPr lang="ru-RU" baseline="0" dirty="0" smtClean="0"/>
              <a:t> по безопасности производства.</a:t>
            </a:r>
          </a:p>
          <a:p>
            <a:r>
              <a:rPr lang="ru-RU" baseline="0" dirty="0" smtClean="0"/>
              <a:t>В состав </a:t>
            </a:r>
            <a:r>
              <a:rPr lang="ru-RU" baseline="0" dirty="0" err="1" smtClean="0"/>
              <a:t>комиетат</a:t>
            </a:r>
            <a:r>
              <a:rPr lang="ru-RU" baseline="0" dirty="0" smtClean="0"/>
              <a:t> входят директора, либо замещающие их лица ДКС, ДМТО, </a:t>
            </a:r>
            <a:r>
              <a:rPr lang="ru-RU" baseline="0" dirty="0" err="1" smtClean="0"/>
              <a:t>ДпР,ДЭБ</a:t>
            </a:r>
            <a:r>
              <a:rPr lang="ru-RU" baseline="0" dirty="0" smtClean="0"/>
              <a:t>, </a:t>
            </a:r>
            <a:r>
              <a:rPr lang="ru-RU" baseline="0" dirty="0" err="1" smtClean="0"/>
              <a:t>ДпВ</a:t>
            </a:r>
            <a:r>
              <a:rPr lang="ru-RU" baseline="0" dirty="0" smtClean="0"/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106788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сновными задачами комитета</a:t>
            </a:r>
            <a:r>
              <a:rPr lang="ru-RU" baseline="0" dirty="0" smtClean="0"/>
              <a:t> являются: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Обеспечение прозрачности принятия решения в отношении подрядной организации.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Повышение уровня безопасности организации находящейся в нижней части рейтинга.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Рассмотрение спорных вопросов в области безопасности производства.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Выставление штрафных санкций подрядной организации за грубые нарушения в области безопасности производства.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Возможность перераспределения штрафных санкций на развитие организации с предоставлением плана развития от руководителя.</a:t>
            </a:r>
          </a:p>
          <a:p>
            <a:pPr marL="285750" indent="-285750">
              <a:buFontTx/>
              <a:buChar char="-"/>
            </a:pPr>
            <a:r>
              <a:rPr lang="ru-RU" baseline="0" dirty="0" smtClean="0"/>
              <a:t>Расторжение договора с организацией. Это как правило крайняя мера воздействия на компании которые </a:t>
            </a:r>
            <a:r>
              <a:rPr lang="ru-RU" baseline="0" smtClean="0"/>
              <a:t>не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35364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Что бы внести немного ясности как определяется компания аутсайдер.</a:t>
            </a:r>
          </a:p>
          <a:p>
            <a:r>
              <a:rPr lang="ru-RU" baseline="0" dirty="0" smtClean="0"/>
              <a:t>Перед вами представлена разбивка зон рейтинга.</a:t>
            </a:r>
          </a:p>
          <a:p>
            <a:r>
              <a:rPr lang="ru-RU" baseline="0" dirty="0" smtClean="0"/>
              <a:t>Т.е. если компания находится в зеленой зоне, то никаких вопросов к ней не может быть.</a:t>
            </a:r>
          </a:p>
          <a:p>
            <a:r>
              <a:rPr lang="ru-RU" baseline="0" dirty="0" smtClean="0"/>
              <a:t>Желтая зона требует внимания.</a:t>
            </a:r>
          </a:p>
          <a:p>
            <a:r>
              <a:rPr lang="ru-RU" baseline="0" dirty="0" smtClean="0"/>
              <a:t>А красная зона, это как раз и есть те компании которые находятся в аутсайдерах.</a:t>
            </a:r>
          </a:p>
          <a:p>
            <a:r>
              <a:rPr lang="ru-RU" baseline="0" dirty="0" smtClean="0"/>
              <a:t>Есть три основные причины направления на комитет.</a:t>
            </a:r>
          </a:p>
          <a:p>
            <a:pPr marL="342900" indent="-342900">
              <a:buAutoNum type="arabicPeriod"/>
            </a:pPr>
            <a:r>
              <a:rPr lang="ru-RU" baseline="0" dirty="0" smtClean="0"/>
              <a:t>Контрагент </a:t>
            </a:r>
            <a:r>
              <a:rPr lang="ru-RU" baseline="0" dirty="0" err="1" smtClean="0"/>
              <a:t>дердится</a:t>
            </a:r>
            <a:r>
              <a:rPr lang="ru-RU" baseline="0" dirty="0" smtClean="0"/>
              <a:t> в красной зоне на протяжении двух оценочных периодов и не исправляет ситуацию.</a:t>
            </a:r>
          </a:p>
          <a:p>
            <a:pPr marL="342900" indent="-342900">
              <a:buAutoNum type="arabicPeriod"/>
            </a:pPr>
            <a:r>
              <a:rPr lang="ru-RU" baseline="0" dirty="0" smtClean="0"/>
              <a:t>Контрагент не предпринимает действий по устранению системных нарушений.</a:t>
            </a:r>
          </a:p>
          <a:p>
            <a:pPr marL="342900" indent="-342900">
              <a:buAutoNum type="arabicPeriod"/>
            </a:pPr>
            <a:r>
              <a:rPr lang="ru-RU" baseline="0" dirty="0" smtClean="0"/>
              <a:t>Отсутствует адекватная реакция со стороны контрагента на </a:t>
            </a:r>
            <a:r>
              <a:rPr lang="ru-RU" baseline="0" dirty="0" err="1" smtClean="0"/>
              <a:t>выявленые</a:t>
            </a:r>
            <a:r>
              <a:rPr lang="ru-RU" baseline="0" dirty="0" smtClean="0"/>
              <a:t> нарушения.</a:t>
            </a:r>
          </a:p>
          <a:p>
            <a:pPr marL="342900" indent="-342900">
              <a:buAutoNum type="arabicPeriod"/>
            </a:pPr>
            <a:endParaRPr lang="ru-RU" baseline="0" dirty="0" smtClean="0"/>
          </a:p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0570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орядок работы комитета по работе с подрядными организациями.</a:t>
            </a:r>
          </a:p>
          <a:p>
            <a:r>
              <a:rPr lang="ru-RU" dirty="0" smtClean="0"/>
              <a:t>Все начинается с регистрации выявленных несоответствий в системе АСУБ.</a:t>
            </a:r>
          </a:p>
          <a:p>
            <a:r>
              <a:rPr lang="ru-RU" dirty="0" smtClean="0"/>
              <a:t>Далее</a:t>
            </a:r>
            <a:r>
              <a:rPr lang="ru-RU" baseline="0" dirty="0" smtClean="0"/>
              <a:t> по окончанию отсчетного периода формируется рейтинг организаций, по которому как я уже говорил определяются компании аутсайдеров.</a:t>
            </a:r>
          </a:p>
          <a:p>
            <a:r>
              <a:rPr lang="ru-RU" baseline="0" dirty="0" smtClean="0"/>
              <a:t>Принимается решение о направление руководителя организации на комитет. После принятого решения оповещается контрагент о необходимости явиться на комитет по работе с подрядными организациями.</a:t>
            </a:r>
          </a:p>
          <a:p>
            <a:r>
              <a:rPr lang="ru-RU" dirty="0" smtClean="0"/>
              <a:t>Руководитель контрагента подготавливает шаги развития своей организации в области безопасности производства,</a:t>
            </a:r>
            <a:r>
              <a:rPr lang="ru-RU" baseline="0" dirty="0" smtClean="0"/>
              <a:t> которые комитет заслушивает на заседании.</a:t>
            </a:r>
          </a:p>
          <a:p>
            <a:r>
              <a:rPr lang="ru-RU" baseline="0" dirty="0" smtClean="0"/>
              <a:t>После чего Представители комитета принимают решение в отношении контрагента.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36614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рвый инструмент это Чек-лист самооценки рабочего места подрядными организациям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3817180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сновная цель внедрения Чек-Листа Повышение организации безопасного выполнения работ повышенной опасности подрядными организациями</a:t>
            </a:r>
            <a:r>
              <a: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 счет проведения самооценки ответственным лицом за безопасное проведение работ от подрядной организации.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Чек-лист «Самооценка рабочего места» является неотъемлемой частью наряда-допуска и хранится в течении одного месяца вместе с закрытым нарядом-допуском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D7469-598B-4074-9061-13BEE3927704}" type="slidenum">
              <a:rPr lang="ru-RU" smtClean="0"/>
              <a:pPr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97990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/>
              <a:t>Еще один инструмент, о котором хотелось бы вам рассказать – это установочные совещания с подрядными организациями.</a:t>
            </a:r>
          </a:p>
          <a:p>
            <a:r>
              <a:rPr lang="ru-RU" dirty="0"/>
              <a:t>Данные совещания направленны на повышение организации безопасного выполнения работ подрядными организациями.</a:t>
            </a:r>
          </a:p>
          <a:p>
            <a:r>
              <a:rPr lang="ru-RU" dirty="0"/>
              <a:t>Взаимодействие с организацией будет начинаться перед этапом выполнения работ.</a:t>
            </a:r>
          </a:p>
          <a:p>
            <a:r>
              <a:rPr lang="ru-RU" dirty="0"/>
              <a:t>Организация будет предоставлять всю имеющуюся документацию согласно перечня, подтверждающую готовность организации к выполнению работ.</a:t>
            </a:r>
          </a:p>
          <a:p>
            <a:r>
              <a:rPr lang="ru-RU" dirty="0"/>
              <a:t>По данным совещаниям, представители ДПБ будут принимать решение о допуске организации.</a:t>
            </a:r>
          </a:p>
          <a:p>
            <a:r>
              <a:rPr lang="ru-RU" dirty="0"/>
              <a:t>Разработана типовая форма установочного совещания, по которой они будут проводиться.</a:t>
            </a:r>
          </a:p>
          <a:p>
            <a:r>
              <a:rPr lang="ru-RU" dirty="0"/>
              <a:t>В данной форме есть весь перечень документов, которые необходимо будет предоставить.</a:t>
            </a:r>
          </a:p>
          <a:p>
            <a:r>
              <a:rPr lang="ru-RU" dirty="0"/>
              <a:t>Со стороны Дирекции по безопасности будет проведена разъяснительная беседа, согласно программе установочного совещания, которая затрагивает основные моменты работы, правила, меры безопасности, организация работы в системе </a:t>
            </a:r>
            <a:r>
              <a:rPr lang="ru-RU" dirty="0" err="1"/>
              <a:t>асуб</a:t>
            </a:r>
            <a:r>
              <a:rPr lang="ru-RU" dirty="0"/>
              <a:t>. А так же взаимодействие и формирование обратной связи между заказчиком и контрагентом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DBB27-19F2-BA47-9626-C091B64D8442}" type="slidenum">
              <a:rPr lang="ru-RU" smtClean="0"/>
              <a:pPr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293402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Так</a:t>
            </a:r>
            <a:r>
              <a:rPr lang="ru-RU" baseline="0" dirty="0" smtClean="0"/>
              <a:t> для чего же нужны установочные совещания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заимодействие Контрагента с представителями Дирекции по безопасности производства на начальном этапе выполнения работ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Разъяснение Контрагенту основных требований в области БП, согласно программе установочного совещания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Документальная проверка перед началом выполнения работ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Формирование обратной связи между представителями </a:t>
            </a:r>
            <a:r>
              <a:rPr lang="ru-RU" dirty="0" err="1" smtClean="0"/>
              <a:t>ДпБП</a:t>
            </a:r>
            <a:r>
              <a:rPr lang="ru-RU" dirty="0" smtClean="0"/>
              <a:t> и Контрагентом. Разработка дорожной карты по взаимодействию и развитию в области БП. Составление профиля организации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B9DBB27-19F2-BA47-9626-C091B64D8442}" type="slidenum">
              <a:rPr lang="ru-RU" smtClean="0"/>
              <a:pPr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6864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dirty="0" smtClean="0"/>
              <a:t>На</a:t>
            </a:r>
            <a:r>
              <a:rPr lang="ru-RU" baseline="0" dirty="0" smtClean="0"/>
              <a:t> слайде представлена статистика</a:t>
            </a:r>
            <a:r>
              <a:rPr lang="ru-RU" dirty="0" smtClean="0"/>
              <a:t> Научного</a:t>
            </a:r>
            <a:r>
              <a:rPr lang="ru-RU" baseline="0" dirty="0" smtClean="0"/>
              <a:t> Центра Безопасности Дорожного Движения за 2021 год.</a:t>
            </a:r>
            <a:endParaRPr lang="ru-RU" dirty="0" smtClean="0"/>
          </a:p>
          <a:p>
            <a:r>
              <a:rPr lang="ru-RU" dirty="0" smtClean="0"/>
              <a:t>В темное время суток произошло 27 275 ДТП, что составило почти треть (28,3%) от общего количества. Вместе с тем в таких ДТП погибла почти половина (40,3%, или 4 238 человек) от общего числа погибших. Тяжесть последствий ДТП в темное время суток в полтора раза выше в сравнении с аналогичным показателем для светлого времени суток. За данный</a:t>
            </a:r>
            <a:r>
              <a:rPr lang="ru-RU" baseline="0" dirty="0" smtClean="0"/>
              <a:t> период зафиксировано 24168 наездов на пешехода, из них 2384 с летальным исходом. Наезд на пешехода является одним из самых распространённых видов ДТП(второе место после СТОЛКНОВЕНИЯ), как по общему количеству по видам ДТП так и по кол-ву случаев со смертельным исходом. Что делать? Как обезопасить себя и своих близких?</a:t>
            </a:r>
            <a:endParaRPr lang="ru-RU" dirty="0" smtClean="0"/>
          </a:p>
          <a:p>
            <a:r>
              <a:rPr lang="ru-RU" dirty="0" smtClean="0"/>
              <a:t>Для начала Вспомним правила поведения на ночной дороге, которых стоит придерживаться, если жизнь еще дорога.</a:t>
            </a:r>
          </a:p>
          <a:p>
            <a:r>
              <a:rPr lang="ru-RU" dirty="0" smtClean="0"/>
              <a:t> - пешеходам необходимо держаться как можно дальше от проезжей части, даже если движение по дороге ночью не столь интенсивно.</a:t>
            </a:r>
          </a:p>
          <a:p>
            <a:r>
              <a:rPr lang="ru-RU" baseline="0" dirty="0" smtClean="0"/>
              <a:t> - </a:t>
            </a:r>
            <a:r>
              <a:rPr lang="ru-RU" dirty="0" smtClean="0"/>
              <a:t>не стоит надевать темную одежду в темное время суток, если вы заранее знаете, что будете идти по дороге или переходить ее в опасных участках.</a:t>
            </a:r>
          </a:p>
          <a:p>
            <a:r>
              <a:rPr lang="ru-RU" baseline="0" dirty="0" smtClean="0"/>
              <a:t> - </a:t>
            </a:r>
            <a:r>
              <a:rPr lang="ru-RU" dirty="0" smtClean="0"/>
              <a:t>не стоит резко появляться перед приближающимся транспортным средством. Помните, очень трудно в темноте оценить расстояние до приближающегося автомобиля, когда на нем включены фары.</a:t>
            </a:r>
          </a:p>
          <a:p>
            <a:pPr marL="0" marR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dirty="0" smtClean="0"/>
              <a:t>В</a:t>
            </a:r>
            <a:r>
              <a:rPr lang="ru-RU" sz="1600" dirty="0" smtClean="0"/>
              <a:t> </a:t>
            </a:r>
            <a:r>
              <a:rPr lang="ru-RU" sz="1600" b="1" dirty="0" smtClean="0"/>
              <a:t>темное</a:t>
            </a:r>
            <a:r>
              <a:rPr lang="ru-RU" sz="1600" dirty="0" smtClean="0"/>
              <a:t> </a:t>
            </a:r>
            <a:r>
              <a:rPr lang="ru-RU" sz="1600" b="1" dirty="0" smtClean="0"/>
              <a:t>время</a:t>
            </a:r>
            <a:r>
              <a:rPr lang="ru-RU" sz="1600" dirty="0" smtClean="0"/>
              <a:t> </a:t>
            </a:r>
            <a:r>
              <a:rPr lang="ru-RU" sz="1600" b="1" dirty="0" smtClean="0"/>
              <a:t>суток</a:t>
            </a:r>
            <a:r>
              <a:rPr lang="ru-RU" sz="1600" dirty="0" smtClean="0"/>
              <a:t> </a:t>
            </a:r>
            <a:r>
              <a:rPr lang="ru-RU" sz="1600" b="1" dirty="0" smtClean="0"/>
              <a:t>пешеход</a:t>
            </a:r>
            <a:r>
              <a:rPr lang="ru-RU" sz="1600" dirty="0" smtClean="0"/>
              <a:t> </a:t>
            </a:r>
            <a:r>
              <a:rPr lang="ru-RU" sz="1600" b="1" dirty="0" smtClean="0"/>
              <a:t>виден</a:t>
            </a:r>
            <a:r>
              <a:rPr lang="ru-RU" sz="1600" dirty="0" smtClean="0"/>
              <a:t> </a:t>
            </a:r>
            <a:r>
              <a:rPr lang="ru-RU" sz="1600" b="1" dirty="0" smtClean="0"/>
              <a:t>при</a:t>
            </a:r>
            <a:r>
              <a:rPr lang="ru-RU" sz="1600" dirty="0" smtClean="0"/>
              <a:t> </a:t>
            </a:r>
            <a:r>
              <a:rPr lang="ru-RU" sz="1600" b="1" dirty="0" smtClean="0"/>
              <a:t>движении</a:t>
            </a:r>
            <a:r>
              <a:rPr lang="ru-RU" sz="1600" dirty="0" smtClean="0"/>
              <a:t> </a:t>
            </a:r>
            <a:r>
              <a:rPr lang="ru-RU" sz="1600" b="1" dirty="0" smtClean="0"/>
              <a:t>машины</a:t>
            </a:r>
            <a:r>
              <a:rPr lang="ru-RU" sz="1600" dirty="0" smtClean="0"/>
              <a:t> </a:t>
            </a:r>
            <a:r>
              <a:rPr lang="ru-RU" sz="1600" b="1" dirty="0" smtClean="0"/>
              <a:t>с</a:t>
            </a:r>
            <a:r>
              <a:rPr lang="ru-RU" sz="1600" dirty="0" smtClean="0"/>
              <a:t> </a:t>
            </a:r>
            <a:r>
              <a:rPr lang="ru-RU" sz="1600" b="1" dirty="0" smtClean="0"/>
              <a:t>ближним</a:t>
            </a:r>
            <a:r>
              <a:rPr lang="ru-RU" sz="1600" dirty="0" smtClean="0"/>
              <a:t> </a:t>
            </a:r>
            <a:r>
              <a:rPr lang="ru-RU" sz="1600" b="1" dirty="0" smtClean="0"/>
              <a:t>светом</a:t>
            </a:r>
            <a:r>
              <a:rPr lang="ru-RU" sz="1600" dirty="0" smtClean="0"/>
              <a:t> </a:t>
            </a:r>
            <a:r>
              <a:rPr lang="ru-RU" sz="1600" b="1" dirty="0" smtClean="0"/>
              <a:t>фар</a:t>
            </a:r>
            <a:r>
              <a:rPr lang="ru-RU" sz="1600" dirty="0" smtClean="0"/>
              <a:t> </a:t>
            </a:r>
            <a:r>
              <a:rPr lang="ru-RU" sz="1600" b="1" dirty="0" smtClean="0"/>
              <a:t>всего</a:t>
            </a:r>
            <a:r>
              <a:rPr lang="ru-RU" sz="1600" dirty="0" smtClean="0"/>
              <a:t> </a:t>
            </a:r>
            <a:r>
              <a:rPr lang="ru-RU" sz="1600" b="1" dirty="0" smtClean="0"/>
              <a:t>за</a:t>
            </a:r>
            <a:r>
              <a:rPr lang="ru-RU" sz="1600" dirty="0" smtClean="0"/>
              <a:t> </a:t>
            </a:r>
            <a:r>
              <a:rPr lang="ru-RU" sz="1600" b="1" dirty="0" smtClean="0"/>
              <a:t>25-35</a:t>
            </a:r>
            <a:r>
              <a:rPr lang="ru-RU" sz="1600" dirty="0" smtClean="0"/>
              <a:t> </a:t>
            </a:r>
            <a:r>
              <a:rPr lang="ru-RU" sz="1600" b="1" dirty="0" smtClean="0"/>
              <a:t>метров</a:t>
            </a:r>
            <a:r>
              <a:rPr lang="ru-RU" sz="1600" dirty="0" smtClean="0"/>
              <a:t> часто этого расстояния не достаточно, чтобы вовремя остановить автомобиль. Что бы значительно увеличить дальность</a:t>
            </a:r>
            <a:r>
              <a:rPr lang="ru-RU" sz="1600" baseline="0" dirty="0" smtClean="0"/>
              <a:t> обнаружения пешехода водителем, первому можно использовать Свето-Отражающие Элементы. </a:t>
            </a:r>
            <a:endParaRPr lang="ru-RU" sz="1600" dirty="0" smtClean="0"/>
          </a:p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72826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ru-RU" dirty="0" err="1" smtClean="0"/>
              <a:t>Световозвращающие</a:t>
            </a:r>
            <a:r>
              <a:rPr lang="ru-RU" dirty="0" smtClean="0"/>
              <a:t> элементы еще называют – «</a:t>
            </a:r>
            <a:r>
              <a:rPr lang="ru-RU" dirty="0" err="1" smtClean="0"/>
              <a:t>фликеры</a:t>
            </a:r>
            <a:r>
              <a:rPr lang="ru-RU" dirty="0" smtClean="0"/>
              <a:t>» (</a:t>
            </a:r>
            <a:r>
              <a:rPr lang="ru-RU" dirty="0" err="1" smtClean="0"/>
              <a:t>flicker</a:t>
            </a:r>
            <a:r>
              <a:rPr lang="ru-RU" dirty="0" smtClean="0"/>
              <a:t> [ˈ</a:t>
            </a:r>
            <a:r>
              <a:rPr lang="ru-RU" dirty="0" err="1" smtClean="0"/>
              <a:t>flɪkə</a:t>
            </a:r>
            <a:r>
              <a:rPr lang="ru-RU" dirty="0" smtClean="0"/>
              <a:t>] (англ.) – мерцание, вспышка, дрожание). </a:t>
            </a:r>
            <a:r>
              <a:rPr lang="ru-RU" b="1" dirty="0" err="1" smtClean="0"/>
              <a:t>Фликер</a:t>
            </a:r>
            <a:r>
              <a:rPr lang="ru-RU" b="1" dirty="0" smtClean="0"/>
              <a:t> – это простейшее устройство, но</a:t>
            </a:r>
            <a:r>
              <a:rPr lang="ru-RU" b="1" baseline="0" dirty="0" smtClean="0"/>
              <a:t> при этом оно является</a:t>
            </a:r>
            <a:r>
              <a:rPr lang="ru-RU" b="1" dirty="0" smtClean="0"/>
              <a:t> очень действенным способом предотвращения дорожно-транспортных происшествий. Световозвращающий элемент (светоотражатель, </a:t>
            </a:r>
            <a:r>
              <a:rPr lang="ru-RU" b="1" dirty="0" err="1" smtClean="0"/>
              <a:t>фликер</a:t>
            </a:r>
            <a:r>
              <a:rPr lang="ru-RU" b="1" dirty="0" smtClean="0"/>
              <a:t>, пешеходный катафот и т.д.) является важным элементом пассивной безопасности пешехода и снижает риск наезда на пешехода в тёмное время суток в 6,5 раз. Принцип</a:t>
            </a:r>
            <a:r>
              <a:rPr lang="ru-RU" b="1" baseline="0" dirty="0" smtClean="0"/>
              <a:t> действия </a:t>
            </a:r>
            <a:r>
              <a:rPr lang="ru-RU" b="1" baseline="0" dirty="0" err="1" smtClean="0"/>
              <a:t>фликеров</a:t>
            </a:r>
            <a:r>
              <a:rPr lang="ru-RU" b="1" baseline="0" dirty="0" smtClean="0"/>
              <a:t> прост – свет попадающий на их поверхность, концентрируется, возвращаясь в виде узкого пучка света.</a:t>
            </a:r>
            <a:r>
              <a:rPr lang="ru-RU" b="1" dirty="0" smtClean="0"/>
              <a:t> Водители автомобилей в темное время суток  обнаруживают пешехода, имеющего светоотражатель, со значительно большего расстояния. При движении с ближним светом фар расстояние обнаружения увеличивается с 25-40 метров до 130-140, а при движении с дальним светом – до 400 метров.</a:t>
            </a:r>
          </a:p>
          <a:p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У нас по традиции к рекомендациям относятся невнимательно. Помните, как в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ошлом на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летней резине часто ездили зимой, подавляющее большинство не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ользовалось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емнями безопасности? Может и не всем, но очень многим картина довольна привычна. Сейчас же это редкость.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… 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вы, но такого же прогресса в плане пешеходной, особенно детской, безопасности не произошло и слово «</a:t>
            </a:r>
            <a:r>
              <a:rPr lang="ru-RU" sz="15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ликер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» до сих пор известно не всем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одителям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Особенно уязвимыми на дороге становятся школьники, которые только начали передвигаться без родителей. Обезопасьте ваших детей </a:t>
            </a:r>
            <a:r>
              <a:rPr lang="ru-RU" sz="15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ветовозвращающими</a:t>
            </a:r>
            <a:r>
              <a:rPr lang="ru-RU" sz="15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брелоками, браслетами и нашивками на одежду. Не забывайте регулярно повторять с ребенком ПДД. И главное, собственным примером показывайте, как должен вести себя на дороге сознательный пешеход. Далее рассмотрим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к чему </a:t>
            </a:r>
            <a:r>
              <a:rPr lang="ru-RU" sz="15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язывет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закон…… Водителям же, с целью </a:t>
            </a:r>
            <a:r>
              <a:rPr lang="ru-RU" sz="1500" b="0" i="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збежания</a:t>
            </a:r>
            <a:r>
              <a:rPr lang="ru-RU" sz="15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ТП следует соблюдать ПДД и исключить многозадачность при управлении ТС. Будьте внимательны на дороге вне зависимости от того пешеход вы или водитель.</a:t>
            </a: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36FB40-2C3B-4CFE-BD0E-2C40B865F8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0053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авайте ознакомимся со </a:t>
            </a:r>
            <a:r>
              <a:rPr lang="ru-RU" dirty="0" smtClean="0"/>
              <a:t>статистикой происшествий по Подрядным Организациям </a:t>
            </a:r>
            <a:r>
              <a:rPr lang="ru-RU" dirty="0"/>
              <a:t>за период </a:t>
            </a:r>
            <a:r>
              <a:rPr lang="ru-RU" dirty="0" smtClean="0"/>
              <a:t>первых</a:t>
            </a:r>
            <a:r>
              <a:rPr lang="ru-RU" baseline="0" dirty="0" smtClean="0"/>
              <a:t> трёх</a:t>
            </a:r>
            <a:r>
              <a:rPr lang="ru-RU" dirty="0" smtClean="0"/>
              <a:t> </a:t>
            </a:r>
            <a:r>
              <a:rPr lang="ru-RU" dirty="0"/>
              <a:t>месяцев </a:t>
            </a:r>
            <a:r>
              <a:rPr lang="ru-RU" dirty="0" smtClean="0"/>
              <a:t>2022г</a:t>
            </a:r>
            <a:r>
              <a:rPr lang="ru-RU" baseline="0" dirty="0" smtClean="0"/>
              <a:t> и сравним с аналогичным периодом 2021 года.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61364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62500" lnSpcReduction="20000"/>
          </a:bodyPr>
          <a:lstStyle/>
          <a:p>
            <a:r>
              <a:rPr lang="ru-RU" baseline="0" dirty="0" smtClean="0"/>
              <a:t>На первой диаграмме представлено сравнение количества происшествий связанных с работой ПО. По чрезвычайным происшествиям на первый квартал 22 года показатель равен нулю , за 21й же год данного периода , напомним, произошло происшествие со смертельным исходом при производстве работ по монтажу оборудования ПО УМР-10 на территории строй площадки ТПЦ, происшествие связано с работой с </a:t>
            </a:r>
            <a:r>
              <a:rPr lang="ru-RU" baseline="0" dirty="0" err="1" smtClean="0"/>
              <a:t>ГрузоПодъёмнымиМеханизами</a:t>
            </a:r>
            <a:r>
              <a:rPr lang="ru-RU" baseline="0" dirty="0" smtClean="0"/>
              <a:t>(отсутствие необходимых квалификаций, нарушение при </a:t>
            </a:r>
            <a:r>
              <a:rPr lang="ru-RU" baseline="0" dirty="0" err="1" smtClean="0"/>
              <a:t>строповке</a:t>
            </a:r>
            <a:r>
              <a:rPr lang="ru-RU" baseline="0" dirty="0" smtClean="0"/>
              <a:t> груза). Далее, в первом квартале 22 года уже имеем одну лёгкую травму(работник ПО КЛИНКОМ при уборке снега </a:t>
            </a:r>
            <a:r>
              <a:rPr lang="ru-RU" baseline="0" dirty="0" err="1" smtClean="0"/>
              <a:t>подскользнулся</a:t>
            </a:r>
            <a:r>
              <a:rPr lang="ru-RU" baseline="0" dirty="0" smtClean="0"/>
              <a:t> на керамической плитке, вследствие чего получил закрытый перлом правой берцовой кости без смещения). По ДТП за сравнительные периоды в 22 году имеем на 2 </a:t>
            </a:r>
            <a:r>
              <a:rPr lang="ru-RU" baseline="0" dirty="0" err="1" smtClean="0"/>
              <a:t>дтп</a:t>
            </a:r>
            <a:r>
              <a:rPr lang="ru-RU" baseline="0" dirty="0" smtClean="0"/>
              <a:t> меньше. Далее Имеется рост по незначительным происшествиям, одно из происшествий произошло при производстве монтажных работ организацией </a:t>
            </a:r>
            <a:r>
              <a:rPr lang="ru-RU" baseline="0" dirty="0" err="1" smtClean="0"/>
              <a:t>Стройновация</a:t>
            </a:r>
            <a:r>
              <a:rPr lang="ru-RU" baseline="0" dirty="0" smtClean="0"/>
              <a:t>, связано оно так же с работой с ГПМ… (Напомню, при </a:t>
            </a:r>
            <a:r>
              <a:rPr lang="ru-RU" baseline="0" dirty="0" err="1" smtClean="0"/>
              <a:t>подьёме</a:t>
            </a:r>
            <a:r>
              <a:rPr lang="ru-RU" baseline="0" dirty="0" smtClean="0"/>
              <a:t> трёх элементов оборудования сопряжённых одним валом, по причине неправильного выбора схемы </a:t>
            </a:r>
            <a:r>
              <a:rPr lang="ru-RU" baseline="0" dirty="0" err="1" smtClean="0"/>
              <a:t>строповки</a:t>
            </a:r>
            <a:r>
              <a:rPr lang="ru-RU" baseline="0" dirty="0" smtClean="0"/>
              <a:t> – в начале </a:t>
            </a:r>
            <a:r>
              <a:rPr lang="ru-RU" baseline="0" dirty="0" err="1" smtClean="0"/>
              <a:t>подьёма</a:t>
            </a:r>
            <a:r>
              <a:rPr lang="ru-RU" baseline="0" dirty="0" smtClean="0"/>
              <a:t> произошло </a:t>
            </a:r>
            <a:r>
              <a:rPr lang="ru-RU" baseline="0" dirty="0" err="1" smtClean="0"/>
              <a:t>апрокидование</a:t>
            </a:r>
            <a:r>
              <a:rPr lang="ru-RU" baseline="0" dirty="0" smtClean="0"/>
              <a:t> данного оборудования с транспортировочного поддона – ущерб до 50к, но случай потенциально мог быть смертельным или с получением тяжёлых травм). Так же имеем одно загорание в первом квартале 22го года. Связано с производством огневых работ ПО </a:t>
            </a:r>
            <a:r>
              <a:rPr lang="ru-RU" baseline="0" dirty="0" err="1" smtClean="0"/>
              <a:t>УралМеталлургМонтаж</a:t>
            </a:r>
            <a:r>
              <a:rPr lang="ru-RU" baseline="0" dirty="0" smtClean="0"/>
              <a:t> 2 на своде отпускной печи участка термообработки строй площадки ТПЦ. </a:t>
            </a:r>
            <a:r>
              <a:rPr lang="ru-RU" baseline="0" dirty="0" err="1" smtClean="0"/>
              <a:t>Сопут</a:t>
            </a:r>
            <a:r>
              <a:rPr lang="ru-RU" baseline="0" dirty="0" smtClean="0"/>
              <a:t> причины  - не очищено место производства </a:t>
            </a:r>
            <a:r>
              <a:rPr lang="ru-RU" baseline="0" dirty="0" err="1" smtClean="0"/>
              <a:t>оггневых</a:t>
            </a:r>
            <a:r>
              <a:rPr lang="ru-RU" baseline="0" dirty="0" smtClean="0"/>
              <a:t> работ от горючих материалов, а так же, нарушение режима курения сотрудниками ПО </a:t>
            </a:r>
            <a:r>
              <a:rPr lang="ru-RU" baseline="0" dirty="0" err="1" smtClean="0"/>
              <a:t>Стройновация</a:t>
            </a:r>
            <a:r>
              <a:rPr lang="ru-RU" baseline="0" dirty="0" smtClean="0"/>
              <a:t>(в отчёте о </a:t>
            </a:r>
            <a:r>
              <a:rPr lang="ru-RU" baseline="0" dirty="0" err="1" smtClean="0"/>
              <a:t>проишествии</a:t>
            </a:r>
            <a:r>
              <a:rPr lang="ru-RU" baseline="0" dirty="0" smtClean="0"/>
              <a:t>  в установленных фактах). По пожарам статистика нулевая. </a:t>
            </a:r>
          </a:p>
          <a:p>
            <a:r>
              <a:rPr lang="ru-RU" baseline="0" dirty="0" smtClean="0"/>
              <a:t>Вторая представленная диаграмма – это сравнительная статистика нарушений по категориям  за период последних трёх месяцев 2021 года и первых трёх месяцев 22 года. Здесь у нас по всем категориям наблюдается спад. Особенно заметно уменьшение кол-ва замечаний связанных с работой на высоте(с 371го до 280ти) и в условиях труда(с 426ти до 261го) – знаки безопасности, безопасные проходы, спуски/подъёмы и т.д. По пожарной безопасности снижение кол-ва замечаний тоже </a:t>
            </a:r>
            <a:r>
              <a:rPr lang="ru-RU" baseline="0" dirty="0" err="1" smtClean="0"/>
              <a:t>имеетс</a:t>
            </a:r>
            <a:r>
              <a:rPr lang="ru-RU" baseline="0" dirty="0" smtClean="0"/>
              <a:t>, но не большое, да и к тому же данная категория находилась и находится на первом месте по кол-ву замечаний…вследствие чего за первые три месяца 22го года мы уже имеем одно загорание. ПОЭТОМУ СТАТИСТИКУ по пожарной безопасности разберём более подробно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0958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baseline="0" dirty="0" smtClean="0"/>
              <a:t>На этом слайде на первой диаграмме видим сравнение кол-ва наблюдений в пожарной безопасности по подкатегориям. Средства пожаротушения (основные нарушения здесь это отсутствие огнетушителей/либо недостаточное кол-во, наличие покрывала из негорючего материала для изоляции очага загорания, неисправность </a:t>
            </a:r>
            <a:r>
              <a:rPr lang="ru-RU" baseline="0" dirty="0" err="1" smtClean="0"/>
              <a:t>Пер.Ср.Пожаротушения</a:t>
            </a:r>
            <a:r>
              <a:rPr lang="ru-RU" baseline="0" dirty="0" smtClean="0"/>
              <a:t>) – здесь наблюдается уменьшение кол-ва замечаний. В </a:t>
            </a:r>
            <a:r>
              <a:rPr lang="ru-RU" baseline="0" dirty="0" err="1" smtClean="0"/>
              <a:t>подгатегории</a:t>
            </a:r>
            <a:r>
              <a:rPr lang="ru-RU" baseline="0" dirty="0" smtClean="0"/>
              <a:t> пожарная безопасности зданий и помещений (это нарушение по </a:t>
            </a:r>
            <a:r>
              <a:rPr lang="ru-RU" baseline="0" dirty="0" err="1" smtClean="0"/>
              <a:t>хрангению</a:t>
            </a:r>
            <a:r>
              <a:rPr lang="ru-RU" baseline="0" dirty="0" smtClean="0"/>
              <a:t> </a:t>
            </a:r>
            <a:r>
              <a:rPr lang="ru-RU" baseline="0" dirty="0" err="1" smtClean="0"/>
              <a:t>лвж</a:t>
            </a:r>
            <a:r>
              <a:rPr lang="ru-RU" baseline="0" dirty="0" smtClean="0"/>
              <a:t>, </a:t>
            </a:r>
            <a:r>
              <a:rPr lang="ru-RU" baseline="0" dirty="0" err="1" smtClean="0"/>
              <a:t>гж</a:t>
            </a:r>
            <a:r>
              <a:rPr lang="ru-RU" baseline="0" dirty="0" smtClean="0"/>
              <a:t>, нарушения связанные с бытовыми, инструментальными помещениями и т.д) здесь так же наблюдаем уменьшение количества нарушений. В </a:t>
            </a:r>
            <a:r>
              <a:rPr lang="ru-RU" baseline="0" dirty="0" err="1" smtClean="0"/>
              <a:t>пдгатегории</a:t>
            </a:r>
            <a:r>
              <a:rPr lang="ru-RU" baseline="0" dirty="0" smtClean="0"/>
              <a:t> огневые работы, как видим, ситуация у нас не улучшается. </a:t>
            </a:r>
            <a:r>
              <a:rPr lang="ru-RU" baseline="0" dirty="0" err="1" smtClean="0"/>
              <a:t>Вданной</a:t>
            </a:r>
            <a:r>
              <a:rPr lang="ru-RU" baseline="0" dirty="0" smtClean="0"/>
              <a:t> подкатегории основные нарушения – место производства огневых работ не очищено от горючих материалов(это основное нарушение), отсутствует сбор сварочных огарков, отсутствие наблюдающего и т.д. Приличная часть наблюдений в этой </a:t>
            </a:r>
            <a:r>
              <a:rPr lang="ru-RU" baseline="0" dirty="0" err="1" smtClean="0"/>
              <a:t>подгатегории</a:t>
            </a:r>
            <a:r>
              <a:rPr lang="ru-RU" baseline="0" dirty="0" smtClean="0"/>
              <a:t> находится в зоне высокого риска и как правило замечание влечёт за собой остановку работ и блокировку пропусков нарушителей, в том числе из состава ИТР.  Так же на слайде представлена диаграмма с подрядными </a:t>
            </a:r>
            <a:r>
              <a:rPr lang="ru-RU" baseline="0" dirty="0" err="1" smtClean="0"/>
              <a:t>оргранизациями</a:t>
            </a:r>
            <a:r>
              <a:rPr lang="ru-RU" baseline="0" dirty="0" smtClean="0"/>
              <a:t> с большим количеством замечаний в категории ПБ за период первых трёх месяцев 22го года.  Что бы вы понимали… вот у ПО Альфа </a:t>
            </a:r>
            <a:r>
              <a:rPr lang="ru-RU" baseline="0" dirty="0" err="1" smtClean="0"/>
              <a:t>Инж</a:t>
            </a:r>
            <a:r>
              <a:rPr lang="ru-RU" baseline="0" dirty="0" smtClean="0"/>
              <a:t>. Из 45 наблюдений за три месяца, 14 раз были остановлены работы(именно по причине нарушений по пожарной безопасности) и часто эти остановки работ сопровождались ещё и блокировками. </a:t>
            </a:r>
            <a:r>
              <a:rPr lang="ru-RU" baseline="0" dirty="0" err="1" smtClean="0"/>
              <a:t>Ру</a:t>
            </a:r>
            <a:r>
              <a:rPr lang="ru-RU" baseline="0" dirty="0" smtClean="0"/>
              <a:t> строй из 27  </a:t>
            </a:r>
            <a:r>
              <a:rPr lang="ru-RU" baseline="0" dirty="0" err="1" smtClean="0"/>
              <a:t>наблюбдений</a:t>
            </a:r>
            <a:r>
              <a:rPr lang="ru-RU" baseline="0" dirty="0" smtClean="0"/>
              <a:t> 7 с </a:t>
            </a:r>
            <a:r>
              <a:rPr lang="ru-RU" baseline="0" dirty="0" err="1" smtClean="0"/>
              <a:t>отстановкой</a:t>
            </a:r>
            <a:r>
              <a:rPr lang="ru-RU" baseline="0" dirty="0" smtClean="0"/>
              <a:t> работ.  В общем же за три месяца мы получили 73 остановки работ и 26 заблокированных сотрудников за нарушения связанные именно с пожарной безопасностью. Ну и две организации, которые фигурировали в отчёте по расследованию происшествия, это </a:t>
            </a:r>
            <a:r>
              <a:rPr lang="ru-RU" baseline="0" dirty="0" err="1" smtClean="0"/>
              <a:t>стройновация</a:t>
            </a:r>
            <a:r>
              <a:rPr lang="ru-RU" baseline="0" dirty="0" smtClean="0"/>
              <a:t> и умм-2 – по загоранию на отпускной печи – в этой пятёрке, так скажем аутсайдеров, тоже присутствуют. Прошу руководителей и специалистов Подрядных организаций усилить контроль за подготовкой и проведением огневых работ, а так же за мероприятиями по их окончанию. По статистике всё. Переходим к следующей теме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9DBB27-19F2-BA47-9626-C091B64D844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9191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D7469-598B-4074-9061-13BEE392770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1521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61260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1" y="3672099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76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5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00883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212101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45462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3027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368434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8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1921" indent="0" algn="ctr">
              <a:buNone/>
              <a:defRPr sz="1890"/>
            </a:lvl2pPr>
            <a:lvl3pPr marL="863843" indent="0" algn="ctr">
              <a:buNone/>
              <a:defRPr sz="1701"/>
            </a:lvl3pPr>
            <a:lvl4pPr marL="1295764" indent="0" algn="ctr">
              <a:buNone/>
              <a:defRPr sz="1512"/>
            </a:lvl4pPr>
            <a:lvl5pPr marL="1727685" indent="0" algn="ctr">
              <a:buNone/>
              <a:defRPr sz="1512"/>
            </a:lvl5pPr>
            <a:lvl6pPr marL="2159606" indent="0" algn="ctr">
              <a:buNone/>
              <a:defRPr sz="1512"/>
            </a:lvl6pPr>
            <a:lvl7pPr marL="2591528" indent="0" algn="ctr">
              <a:buNone/>
              <a:defRPr sz="1512"/>
            </a:lvl7pPr>
            <a:lvl8pPr marL="3023449" indent="0" algn="ctr">
              <a:buNone/>
              <a:defRPr sz="1512"/>
            </a:lvl8pPr>
            <a:lvl9pPr marL="3455370" indent="0" algn="ctr">
              <a:buNone/>
              <a:defRPr sz="1512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251516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094606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1" y="1615546"/>
            <a:ext cx="9937790" cy="2695572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1" y="4336619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1921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3843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576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768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5960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152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344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537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892705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634353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3" y="345011"/>
            <a:ext cx="9937790" cy="125253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5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5" y="2367064"/>
            <a:ext cx="4874377" cy="348159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8505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08"/>
            <a:ext cx="2592467" cy="55291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4" y="259508"/>
            <a:ext cx="7585366" cy="55291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667598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122156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011992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1921" indent="0">
              <a:buNone/>
              <a:defRPr sz="2646"/>
            </a:lvl2pPr>
            <a:lvl3pPr marL="863843" indent="0">
              <a:buNone/>
              <a:defRPr sz="2268"/>
            </a:lvl3pPr>
            <a:lvl4pPr marL="1295764" indent="0">
              <a:buNone/>
              <a:defRPr sz="1890"/>
            </a:lvl4pPr>
            <a:lvl5pPr marL="1727685" indent="0">
              <a:buNone/>
              <a:defRPr sz="1890"/>
            </a:lvl5pPr>
            <a:lvl6pPr marL="2159606" indent="0">
              <a:buNone/>
              <a:defRPr sz="1890"/>
            </a:lvl6pPr>
            <a:lvl7pPr marL="2591528" indent="0">
              <a:buNone/>
              <a:defRPr sz="1890"/>
            </a:lvl7pPr>
            <a:lvl8pPr marL="3023449" indent="0">
              <a:buNone/>
              <a:defRPr sz="1890"/>
            </a:lvl8pPr>
            <a:lvl9pPr marL="3455370" indent="0">
              <a:buNone/>
              <a:defRPr sz="189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668142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24868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10223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9 Сопровождающий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208076"/>
            <a:ext cx="1080135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x-none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38" y="2341223"/>
            <a:ext cx="10801350" cy="36303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5894047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1" y="1331916"/>
            <a:ext cx="6373813" cy="3816349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5499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x-non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A7F86-BC36-3241-91E5-D03882836D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32588" y="1331915"/>
            <a:ext cx="4429124" cy="3816348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D176CE-8965-5349-9FBA-5A96377315F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01B00CD-A1FA-E242-8C42-584DF7EACB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7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45546C9A-5E11-424E-858D-8C2913D9A7B7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5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4CD8EB8-EB60-2F4E-88CC-EAA88C251C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6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799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602925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474A4320-3C1A-114D-AA60-FA85EE7C27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0597" y="5561211"/>
            <a:ext cx="1994866" cy="848542"/>
          </a:xfrm>
          <a:prstGeom prst="rect">
            <a:avLst/>
          </a:prstGeom>
        </p:spPr>
        <p:txBody>
          <a:bodyPr lIns="180000" tIns="45720" rIns="180000" bIns="4572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Facebook.com</a:t>
            </a:r>
            <a:r>
              <a:rPr lang="en-US" dirty="0"/>
              <a:t>/</a:t>
            </a:r>
            <a:r>
              <a:rPr lang="en-US" dirty="0" err="1"/>
              <a:t>omk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instagram.com</a:t>
            </a:r>
            <a:r>
              <a:rPr lang="en-US" dirty="0"/>
              <a:t>/</a:t>
            </a:r>
            <a:r>
              <a:rPr lang="en-US" dirty="0" err="1"/>
              <a:t>oml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vk.com</a:t>
            </a:r>
            <a:r>
              <a:rPr lang="en-US" dirty="0"/>
              <a:t>/</a:t>
            </a:r>
            <a:r>
              <a:rPr lang="en-US" dirty="0" err="1"/>
              <a:t>omk_official</a:t>
            </a:r>
            <a:endParaRPr lang="x-none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8082DBEF-CBAD-B54A-A0D6-2705122AF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93973" y="2203622"/>
            <a:ext cx="7638318" cy="1110235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Спасибо за внимание!</a:t>
            </a:r>
            <a:endParaRPr lang="x-non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44C52D-F828-E147-91DD-C0937F7A31CE}"/>
              </a:ext>
            </a:extLst>
          </p:cNvPr>
          <p:cNvSpPr txBox="1"/>
          <p:nvPr userDrawn="1"/>
        </p:nvSpPr>
        <p:spPr>
          <a:xfrm>
            <a:off x="2113489" y="5456641"/>
            <a:ext cx="838150" cy="81210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Телефон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чта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Сай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26B54D-F66A-C344-AD13-EBD8F068DB36}"/>
              </a:ext>
            </a:extLst>
          </p:cNvPr>
          <p:cNvSpPr txBox="1"/>
          <p:nvPr userDrawn="1"/>
        </p:nvSpPr>
        <p:spPr>
          <a:xfrm>
            <a:off x="4827099" y="5511645"/>
            <a:ext cx="1089772" cy="33225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дписаться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A8121F5-98F3-AC40-97DF-13F1C657C0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65464" y="5561215"/>
            <a:ext cx="3405378" cy="881083"/>
          </a:xfrm>
          <a:prstGeom prst="rect">
            <a:avLst/>
          </a:prstGeom>
        </p:spPr>
        <p:txBody>
          <a:bodyPr lIns="180000" tIns="45720" rIns="180000" bIns="4572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twitter.com</a:t>
            </a:r>
            <a:r>
              <a:rPr lang="en-US" dirty="0"/>
              <a:t>/</a:t>
            </a:r>
            <a:r>
              <a:rPr lang="en-US" dirty="0" err="1"/>
              <a:t>omkru</a:t>
            </a:r>
            <a:endParaRPr lang="en-US" dirty="0"/>
          </a:p>
          <a:p>
            <a:pPr lvl="0"/>
            <a:r>
              <a:rPr lang="en-US" dirty="0" err="1"/>
              <a:t>youtube.com</a:t>
            </a:r>
            <a:r>
              <a:rPr lang="en-US" dirty="0"/>
              <a:t>/user/</a:t>
            </a:r>
            <a:r>
              <a:rPr lang="en-US" dirty="0" err="1"/>
              <a:t>OMKPipeCompany</a:t>
            </a:r>
            <a:endParaRPr lang="x-none" dirty="0"/>
          </a:p>
        </p:txBody>
      </p:sp>
      <p:grpSp>
        <p:nvGrpSpPr>
          <p:cNvPr id="15" name="Graphic 2">
            <a:extLst>
              <a:ext uri="{FF2B5EF4-FFF2-40B4-BE49-F238E27FC236}">
                <a16:creationId xmlns:a16="http://schemas.microsoft.com/office/drawing/2014/main" id="{40F11E44-1AF8-A041-B789-CADF7AA9753D}"/>
              </a:ext>
            </a:extLst>
          </p:cNvPr>
          <p:cNvGrpSpPr/>
          <p:nvPr userDrawn="1"/>
        </p:nvGrpSpPr>
        <p:grpSpPr>
          <a:xfrm>
            <a:off x="344953" y="2327053"/>
            <a:ext cx="792163" cy="841598"/>
            <a:chOff x="4522787" y="1925637"/>
            <a:chExt cx="2472690" cy="2627001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6D2B971-C16C-8F4A-B71D-1FCAFEF220DB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9B177FA-B9C4-0348-9234-14014F48B60B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CE2FDDC-7DE1-8441-9AD1-C61F46339ECA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2" name="Graphic 13">
            <a:extLst>
              <a:ext uri="{FF2B5EF4-FFF2-40B4-BE49-F238E27FC236}">
                <a16:creationId xmlns:a16="http://schemas.microsoft.com/office/drawing/2014/main" id="{AA443365-44DD-6049-B8C1-DC81D1B11A4E}"/>
              </a:ext>
            </a:extLst>
          </p:cNvPr>
          <p:cNvGrpSpPr/>
          <p:nvPr userDrawn="1"/>
        </p:nvGrpSpPr>
        <p:grpSpPr>
          <a:xfrm>
            <a:off x="322187" y="5445865"/>
            <a:ext cx="837693" cy="720718"/>
            <a:chOff x="1237542" y="5445861"/>
            <a:chExt cx="837693" cy="720718"/>
          </a:xfrm>
        </p:grpSpPr>
        <p:grpSp>
          <p:nvGrpSpPr>
            <p:cNvPr id="23" name="Graphic 13">
              <a:extLst>
                <a:ext uri="{FF2B5EF4-FFF2-40B4-BE49-F238E27FC236}">
                  <a16:creationId xmlns:a16="http://schemas.microsoft.com/office/drawing/2014/main" id="{5FBEBAB4-8198-0149-BC9E-EA85E807390A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53F6BECB-5E13-9A47-908B-D8DDA9F616AF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951EE360-1C01-BB42-9A9C-1A019F76AA81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16F6205D-01CB-4245-AF73-08FBC725C314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73E37A58-7A04-3D4C-B1C2-8DE0C7DC770C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A5FB3A17-DE30-EC46-85FD-34B2B2EB33B8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A57EE60-CECA-0745-A9C4-EE0F6B57CD75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C1D8118-E478-6F49-92CE-6359D0AC6C1A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5B77BF7-A718-7F46-B83C-AF7018415C50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918E6DD-6E3E-8943-88BC-027320426CAB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45310B9-8CA4-C849-B2E3-16871DC771FC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1" name="Graphic 13">
              <a:extLst>
                <a:ext uri="{FF2B5EF4-FFF2-40B4-BE49-F238E27FC236}">
                  <a16:creationId xmlns:a16="http://schemas.microsoft.com/office/drawing/2014/main" id="{68D06D50-A541-C448-B5A3-276B64E2D4C1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07959E70-C873-A843-8416-EFC12CA91A5C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AEDA4857-1DEE-9942-8A97-47957F90C298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0F4E977-DC47-CD42-90E3-8E69C5C4F26F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3" name="Graphic 13">
              <a:extLst>
                <a:ext uri="{FF2B5EF4-FFF2-40B4-BE49-F238E27FC236}">
                  <a16:creationId xmlns:a16="http://schemas.microsoft.com/office/drawing/2014/main" id="{AFB85BBB-793A-B74B-8260-45E6030D7FD9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45005C72-3836-864B-AF7B-93A10AAB71EC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2D3332B-B7D8-9C48-9592-EC48FF7DA69E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210E65D4-A347-5048-AABF-494A7E316FDF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85F68474-1C77-FC4A-A55B-D80FB770F4C3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397C7BE-F388-7D4A-9EC7-D85F3562CAB6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C5DAA932-1209-AA4C-BCA7-A81CC2B627CA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3B05C48-04C5-AB40-8AA6-D709FA4E3EBE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F6D605A-1F55-E447-831C-1BDAD4AA188C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1FC9B31-E37F-BE4B-A0BF-EE73657BE81F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D78A59F-65ED-154F-9BB0-F3D1A7A2D934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40" name="Graphic 13">
              <a:extLst>
                <a:ext uri="{FF2B5EF4-FFF2-40B4-BE49-F238E27FC236}">
                  <a16:creationId xmlns:a16="http://schemas.microsoft.com/office/drawing/2014/main" id="{A3412EFB-25E5-F24C-9AA5-A8B3CDCDE57F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54C67D7-4E2A-194D-8C27-C5B336C4882D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E4D661F3-775B-484D-9B38-07EB41236708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62245DA-09BF-0D40-B5B8-6858F4AEEA37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8EE32939-128C-A04C-8F2B-03BD54544DBA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96A39E2E-C03C-5343-AA11-E77BC8EC94E4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FEF830E-047D-F44F-BD4C-7111A03A4967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34DED5D-3D96-084B-84A2-FB271F0EB689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D18C1D5-F984-8B4E-A0BF-38700579D3AC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8B11A7-F13B-A341-B3D6-5CBDA7491E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21057" y="5456641"/>
            <a:ext cx="1768431" cy="953112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lvl="0"/>
            <a:r>
              <a:rPr lang="en-GB" dirty="0"/>
              <a:t>(495) 231-77-71</a:t>
            </a:r>
          </a:p>
          <a:p>
            <a:pPr lvl="0"/>
            <a:r>
              <a:rPr lang="en-GB" dirty="0" err="1"/>
              <a:t>press@omk.ru</a:t>
            </a:r>
            <a:endParaRPr lang="en-GB" dirty="0"/>
          </a:p>
          <a:p>
            <a:pPr lvl="0"/>
            <a:r>
              <a:rPr lang="en-GB" dirty="0" err="1"/>
              <a:t>www.omk.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9383500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2165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4925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1" y="1615545"/>
            <a:ext cx="9937790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1" y="4336618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9260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0650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3" y="345010"/>
            <a:ext cx="9937790" cy="125253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4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4" y="2367064"/>
            <a:ext cx="4874377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9155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4041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448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2466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4" y="432012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83" y="933026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4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2008" indent="0">
              <a:buNone/>
              <a:defRPr sz="1323"/>
            </a:lvl2pPr>
            <a:lvl3pPr marL="864017" indent="0">
              <a:buNone/>
              <a:defRPr sz="1134"/>
            </a:lvl3pPr>
            <a:lvl4pPr marL="1296025" indent="0">
              <a:buNone/>
              <a:defRPr sz="945"/>
            </a:lvl4pPr>
            <a:lvl5pPr marL="1728033" indent="0">
              <a:buNone/>
              <a:defRPr sz="945"/>
            </a:lvl5pPr>
            <a:lvl6pPr marL="2160041" indent="0">
              <a:buNone/>
              <a:defRPr sz="945"/>
            </a:lvl6pPr>
            <a:lvl7pPr marL="2592050" indent="0">
              <a:buNone/>
              <a:defRPr sz="945"/>
            </a:lvl7pPr>
            <a:lvl8pPr marL="3024058" indent="0">
              <a:buNone/>
              <a:defRPr sz="945"/>
            </a:lvl8pPr>
            <a:lvl9pPr marL="3456066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6696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1571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8693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27438" y="67510"/>
            <a:ext cx="9180935" cy="34898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071050" y="6172534"/>
            <a:ext cx="451028" cy="151426"/>
          </a:xfrm>
        </p:spPr>
        <p:txBody>
          <a:bodyPr/>
          <a:lstStyle/>
          <a:p>
            <a:fld id="{1E5EB7E5-F709-4EF6-8A34-B7FBD60740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996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">
          <p15:clr>
            <a:srgbClr val="FBAE40"/>
          </p15:clr>
        </p15:guide>
        <p15:guide id="2" pos="7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9 Сопровождающий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208076"/>
            <a:ext cx="1080135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x-none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38" y="2341223"/>
            <a:ext cx="10801350" cy="36303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2378687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2749" y="97206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55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9BCE9F6-2934-314B-BF78-430EC028C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0375" y="5356497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x-none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E236611-2C19-7C49-A7D4-5478F7BB81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x-none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935039F0-13FC-3745-B58A-56E53B716F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4625" y="3284412"/>
            <a:ext cx="6157796" cy="972150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x-none" dirty="0"/>
          </a:p>
        </p:txBody>
      </p:sp>
      <p:grpSp>
        <p:nvGrpSpPr>
          <p:cNvPr id="8" name="Graphic 2">
            <a:extLst>
              <a:ext uri="{FF2B5EF4-FFF2-40B4-BE49-F238E27FC236}">
                <a16:creationId xmlns:a16="http://schemas.microsoft.com/office/drawing/2014/main" id="{D6D8F973-D1EF-5E4E-BB8B-634825B411FA}"/>
              </a:ext>
            </a:extLst>
          </p:cNvPr>
          <p:cNvGrpSpPr/>
          <p:nvPr userDrawn="1"/>
        </p:nvGrpSpPr>
        <p:grpSpPr>
          <a:xfrm>
            <a:off x="1267366" y="2327053"/>
            <a:ext cx="792163" cy="841598"/>
            <a:chOff x="4522787" y="1925637"/>
            <a:chExt cx="2472690" cy="262700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B7C66DE-BB92-9B43-80E1-81CAC5A6BA7D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0F69C82-6455-834F-8DC3-B7DD6441B7A8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5D4B86-70E0-6D4C-A3AA-BE3BE305C020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" name="Graphic 13">
            <a:extLst>
              <a:ext uri="{FF2B5EF4-FFF2-40B4-BE49-F238E27FC236}">
                <a16:creationId xmlns:a16="http://schemas.microsoft.com/office/drawing/2014/main" id="{07D8688A-A1C6-824F-9702-4CAFEFF7A0AA}"/>
              </a:ext>
            </a:extLst>
          </p:cNvPr>
          <p:cNvGrpSpPr/>
          <p:nvPr/>
        </p:nvGrpSpPr>
        <p:grpSpPr>
          <a:xfrm>
            <a:off x="1237542" y="5445861"/>
            <a:ext cx="837693" cy="720718"/>
            <a:chOff x="1237542" y="5445861"/>
            <a:chExt cx="837693" cy="720718"/>
          </a:xfrm>
        </p:grpSpPr>
        <p:grpSp>
          <p:nvGrpSpPr>
            <p:cNvPr id="3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3FB05AE4-1AC5-E644-BF98-DE6793E4DE68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07C0C97F-A1B1-824D-AD1D-C268F9629792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8E58C74-8DEB-FD44-84E7-3F5CDF70C428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B7564595-5E22-8641-B588-924F73BADF4C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3AC51489-6AE5-B24B-AC3B-E1E38FC999B9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F85AE05-D717-1B44-96DC-830799FD25EC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3821BAE-ED59-EF49-8475-A4760287AA34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5C37FE3-3612-AF46-B14A-4E9AC2F3058A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53041A46-B09F-B442-949D-446DFBE72AC5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3ADF56F6-FF94-DB49-A1A5-A74AC9608AC7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2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F3DBE123-7DDD-B049-91F1-6B23E00BCE77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D89E6EF4-F77E-4D4C-9728-8808DAF95249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287936-BCDB-254B-A341-5566F1B56D4D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7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94FC07B3-E533-4C4E-9701-4D5362465C05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C2BC0025-EF4E-604A-B099-C6EF6426E625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01732E20-25F0-BA4F-8423-6E3C4828BFFC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9CE7F9-043F-2849-B383-24D7A7E06010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0221F01-9875-A04B-990D-0A20B287AADD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7FDCD99-4B6E-A043-BB4E-71B448C58EFF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F88397-669E-CC40-984A-518579092475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B7EE570-C5D2-C241-8EE7-718941478E48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0697A2F6-3279-4E42-B281-0DAF218F497F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89A9CC34-F2CB-DA43-84FC-102D6C342923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8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E98A8DD-9977-C940-817A-9C02F17BECE4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8C6780E2-6CE2-BE48-A223-F1BECDCB9E65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79C8422-73CC-E442-8BFD-28563DA6B8D7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EA455DA5-2853-E840-8124-C7F1466F2A9B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2ACC8BE-4AB8-E645-9D0F-C4CC3134B68E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1CA3E67C-098E-0948-A982-BC9E6402B975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5235B930-F4AF-9044-9C2F-93969269A01D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0B5BD2DA-8C99-714A-8DD4-0648E4667B1A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</p:spTree>
    <p:extLst>
      <p:ext uri="{BB962C8B-B14F-4D97-AF65-F5344CB8AC3E}">
        <p14:creationId xmlns:p14="http://schemas.microsoft.com/office/powerpoint/2010/main" val="270716141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4A8BE4C6-EB74-5043-82FF-ED6D3045D2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/>
            </a:lvl1pPr>
          </a:lstStyle>
          <a:p>
            <a:endParaRPr lang="x-none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2749" y="97206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55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9BCE9F6-2934-314B-BF78-430EC028C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0375" y="5356497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x-none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E236611-2C19-7C49-A7D4-5478F7BB81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x-none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935039F0-13FC-3745-B58A-56E53B716F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4625" y="3284412"/>
            <a:ext cx="6157796" cy="972150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x-none" dirty="0"/>
          </a:p>
        </p:txBody>
      </p:sp>
      <p:grpSp>
        <p:nvGrpSpPr>
          <p:cNvPr id="18" name="Graphic 2">
            <a:extLst>
              <a:ext uri="{FF2B5EF4-FFF2-40B4-BE49-F238E27FC236}">
                <a16:creationId xmlns:a16="http://schemas.microsoft.com/office/drawing/2014/main" id="{392D98F0-3E36-B746-92B3-99D11C67E928}"/>
              </a:ext>
            </a:extLst>
          </p:cNvPr>
          <p:cNvGrpSpPr/>
          <p:nvPr userDrawn="1"/>
        </p:nvGrpSpPr>
        <p:grpSpPr>
          <a:xfrm>
            <a:off x="1267366" y="2327053"/>
            <a:ext cx="792163" cy="841598"/>
            <a:chOff x="4522787" y="1925637"/>
            <a:chExt cx="2472690" cy="2627001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B9BCF5C-41AF-264F-8C11-429785FFDF69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0272C9C-4A20-BB4D-B41E-195AC4F13D6D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2211A8E0-0D4A-F448-A678-4DE133CCC8D9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2" name="Graphic 13">
            <a:extLst>
              <a:ext uri="{FF2B5EF4-FFF2-40B4-BE49-F238E27FC236}">
                <a16:creationId xmlns:a16="http://schemas.microsoft.com/office/drawing/2014/main" id="{F5BEF2D1-743B-3948-B737-F9549BF0243E}"/>
              </a:ext>
            </a:extLst>
          </p:cNvPr>
          <p:cNvGrpSpPr/>
          <p:nvPr userDrawn="1"/>
        </p:nvGrpSpPr>
        <p:grpSpPr>
          <a:xfrm>
            <a:off x="1237542" y="5445861"/>
            <a:ext cx="837693" cy="720718"/>
            <a:chOff x="1237542" y="5445861"/>
            <a:chExt cx="837693" cy="720718"/>
          </a:xfrm>
        </p:grpSpPr>
        <p:grpSp>
          <p:nvGrpSpPr>
            <p:cNvPr id="24" name="Graphic 13">
              <a:extLst>
                <a:ext uri="{FF2B5EF4-FFF2-40B4-BE49-F238E27FC236}">
                  <a16:creationId xmlns:a16="http://schemas.microsoft.com/office/drawing/2014/main" id="{A81CBB0C-3DBD-D24E-8417-883F9DD68891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762DD8C3-35E5-434B-9D71-9C5C4D339945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4A904276-BA85-A74D-9691-DD19D10E826E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E1850322-FA09-0C40-B8AF-87FECBC8B398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0005A2E5-AE64-F647-9860-4C90ECF12A1E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AE3555D9-27FB-5F49-9761-AE6DED37A7FD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DF8BBB9-43C0-5340-BA63-C4215310B614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B02A76-2CA2-4940-B211-4B76587F730D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615D367-45A5-D741-B403-75824813B360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EFE0182-0F7E-E440-9F38-7F6A6D0A5248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C4F3CAD-D4EC-D04A-AB16-B7E0CBFE8147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0" name="Graphic 13">
              <a:extLst>
                <a:ext uri="{FF2B5EF4-FFF2-40B4-BE49-F238E27FC236}">
                  <a16:creationId xmlns:a16="http://schemas.microsoft.com/office/drawing/2014/main" id="{9E58D493-46A1-F04D-B91B-2102D960FDFE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E353E8B-52BE-3841-9C75-07A3097861EF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BCFB102D-2526-6147-8518-3876737E3B72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9D1E9F0-39F8-9F44-8C13-7278B90A5A55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2" name="Graphic 13">
              <a:extLst>
                <a:ext uri="{FF2B5EF4-FFF2-40B4-BE49-F238E27FC236}">
                  <a16:creationId xmlns:a16="http://schemas.microsoft.com/office/drawing/2014/main" id="{EB62BF0B-A81A-A44F-AE22-88162C3844CD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A2E89EF2-ED59-D544-B823-BC59B0DCABE9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C8E47D0C-8741-8B49-9ED1-24ACD2050C8E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369E8573-BBD4-6C45-A542-DD563484DACE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BF3BA814-018D-A143-9911-CD40CA9B619D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5FD52627-DEB5-9E49-9783-F91E48C0C719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64B53A7-1C62-0741-B3C6-8C727DF601CA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FE8553B-705A-8946-943B-B4040C6E5182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15C41A6-8644-654E-BFD5-33855C6C37D2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16CEE1F9-E449-3647-A184-C21EA6155EA6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036E6186-0105-E64A-8F4D-E90DC776E3BC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9" name="Graphic 13">
              <a:extLst>
                <a:ext uri="{FF2B5EF4-FFF2-40B4-BE49-F238E27FC236}">
                  <a16:creationId xmlns:a16="http://schemas.microsoft.com/office/drawing/2014/main" id="{5FBDBB02-33F0-E145-BD7C-F1E09FAEE3A4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F0FECE7F-8435-6044-B8FB-533A792EF2A6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FA796D1A-66D1-CB48-8C0F-A82179D510D8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ED918880-8324-C548-8AEE-314114EB481D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55E19C41-400A-C242-8A6E-11EAC64B30A5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137CFA86-F04E-2744-A8C9-FA04A16062EA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1C592BFF-770B-F14D-B62F-70E6DC318FA9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C14E56D-D5A9-8B4C-89D7-0E81073AB749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D1C3A2D8-A269-6A47-A139-5A656E0B37D0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</p:spTree>
    <p:extLst>
      <p:ext uri="{BB962C8B-B14F-4D97-AF65-F5344CB8AC3E}">
        <p14:creationId xmlns:p14="http://schemas.microsoft.com/office/powerpoint/2010/main" val="32231548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4"/>
            <a:ext cx="9793764" cy="1287034"/>
          </a:xfrm>
        </p:spPr>
        <p:txBody>
          <a:bodyPr anchor="t"/>
          <a:lstStyle>
            <a:lvl1pPr algn="l">
              <a:defRPr sz="5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5"/>
            <a:ext cx="9793764" cy="1417537"/>
          </a:xfrm>
        </p:spPr>
        <p:txBody>
          <a:bodyPr anchor="b"/>
          <a:lstStyle>
            <a:lvl1pPr marL="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1pPr>
            <a:lvl2pPr marL="57607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22FD203-2C1F-4E4C-9734-9F16B1997A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52750" y="4289609"/>
            <a:ext cx="7308850" cy="516147"/>
          </a:xfrm>
          <a:prstGeom prst="rect">
            <a:avLst/>
          </a:prstGeom>
        </p:spPr>
        <p:txBody>
          <a:bodyPr lIns="180000" rIns="86400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0" i="0" smtClean="0">
                <a:solidFill>
                  <a:srgbClr val="19212C"/>
                </a:solidFill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ru-RU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ru-RU" dirty="0"/>
              <a:t> </a:t>
            </a:r>
            <a:endParaRPr lang="x-none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9DCB56B-BDDC-0847-BBF5-0FBB08D48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x-none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6500C01-2B19-2F42-91FE-7C84F669F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807" y="5349622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x-none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86D0E17-017B-CF40-9CCB-7F9B1B2516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52749" y="98581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42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itle slide header</a:t>
            </a:r>
            <a:r>
              <a:rPr lang="mr-IN" dirty="0"/>
              <a:t>…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grpSp>
        <p:nvGrpSpPr>
          <p:cNvPr id="8" name="Graphic 2">
            <a:extLst>
              <a:ext uri="{FF2B5EF4-FFF2-40B4-BE49-F238E27FC236}">
                <a16:creationId xmlns:a16="http://schemas.microsoft.com/office/drawing/2014/main" id="{9179D459-76A3-234B-BBDE-A62C80D7F483}"/>
              </a:ext>
            </a:extLst>
          </p:cNvPr>
          <p:cNvGrpSpPr/>
          <p:nvPr userDrawn="1"/>
        </p:nvGrpSpPr>
        <p:grpSpPr>
          <a:xfrm>
            <a:off x="360363" y="1351556"/>
            <a:ext cx="1694901" cy="1800672"/>
            <a:chOff x="4522787" y="1925637"/>
            <a:chExt cx="2472690" cy="2627001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245156D-F4D5-764B-B8BC-D8FB794705CF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2759C32-66C4-F746-B268-4A60EC6F21C0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D30D49F-F7A4-D142-9453-95E50EA0436F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" name="Graphic 11">
            <a:extLst>
              <a:ext uri="{FF2B5EF4-FFF2-40B4-BE49-F238E27FC236}">
                <a16:creationId xmlns:a16="http://schemas.microsoft.com/office/drawing/2014/main" id="{2B14A07C-F107-AD4B-84D8-19021835B693}"/>
              </a:ext>
            </a:extLst>
          </p:cNvPr>
          <p:cNvGrpSpPr/>
          <p:nvPr/>
        </p:nvGrpSpPr>
        <p:grpSpPr>
          <a:xfrm>
            <a:off x="306551" y="4687749"/>
            <a:ext cx="1799571" cy="1548280"/>
            <a:chOff x="306551" y="4687749"/>
            <a:chExt cx="1799571" cy="1548280"/>
          </a:xfrm>
        </p:grpSpPr>
        <p:grpSp>
          <p:nvGrpSpPr>
            <p:cNvPr id="3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363507" y="5419387"/>
              <a:ext cx="704074" cy="228902"/>
              <a:chOff x="363507" y="5419387"/>
              <a:chExt cx="704074" cy="228902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A10631D4-F199-2743-A560-F09432C5EC06}"/>
                  </a:ext>
                </a:extLst>
              </p:cNvPr>
              <p:cNvSpPr/>
              <p:nvPr/>
            </p:nvSpPr>
            <p:spPr>
              <a:xfrm>
                <a:off x="363507" y="5419387"/>
                <a:ext cx="155114" cy="180936"/>
              </a:xfrm>
              <a:custGeom>
                <a:avLst/>
                <a:gdLst>
                  <a:gd name="connsiteX0" fmla="*/ 81799 w 155114"/>
                  <a:gd name="connsiteY0" fmla="*/ 160900 h 180936"/>
                  <a:gd name="connsiteX1" fmla="*/ 118154 w 155114"/>
                  <a:gd name="connsiteY1" fmla="*/ 149971 h 180936"/>
                  <a:gd name="connsiteX2" fmla="*/ 134513 w 155114"/>
                  <a:gd name="connsiteY2" fmla="*/ 120219 h 180936"/>
                  <a:gd name="connsiteX3" fmla="*/ 155115 w 155114"/>
                  <a:gd name="connsiteY3" fmla="*/ 123862 h 180936"/>
                  <a:gd name="connsiteX4" fmla="*/ 130878 w 155114"/>
                  <a:gd name="connsiteY4" fmla="*/ 166364 h 180936"/>
                  <a:gd name="connsiteX5" fmla="*/ 81193 w 155114"/>
                  <a:gd name="connsiteY5" fmla="*/ 180936 h 180936"/>
                  <a:gd name="connsiteX6" fmla="*/ 21813 w 155114"/>
                  <a:gd name="connsiteY6" fmla="*/ 156650 h 180936"/>
                  <a:gd name="connsiteX7" fmla="*/ 0 w 155114"/>
                  <a:gd name="connsiteY7" fmla="*/ 90468 h 180936"/>
                  <a:gd name="connsiteX8" fmla="*/ 6059 w 155114"/>
                  <a:gd name="connsiteY8" fmla="*/ 52217 h 180936"/>
                  <a:gd name="connsiteX9" fmla="*/ 22419 w 155114"/>
                  <a:gd name="connsiteY9" fmla="*/ 23680 h 180936"/>
                  <a:gd name="connsiteX10" fmla="*/ 47867 w 155114"/>
                  <a:gd name="connsiteY10" fmla="*/ 6072 h 180936"/>
                  <a:gd name="connsiteX11" fmla="*/ 81193 w 155114"/>
                  <a:gd name="connsiteY11" fmla="*/ 0 h 180936"/>
                  <a:gd name="connsiteX12" fmla="*/ 130878 w 155114"/>
                  <a:gd name="connsiteY12" fmla="*/ 14572 h 180936"/>
                  <a:gd name="connsiteX13" fmla="*/ 154509 w 155114"/>
                  <a:gd name="connsiteY13" fmla="*/ 57074 h 180936"/>
                  <a:gd name="connsiteX14" fmla="*/ 133907 w 155114"/>
                  <a:gd name="connsiteY14" fmla="*/ 60717 h 180936"/>
                  <a:gd name="connsiteX15" fmla="*/ 117548 w 155114"/>
                  <a:gd name="connsiteY15" fmla="*/ 31573 h 180936"/>
                  <a:gd name="connsiteX16" fmla="*/ 81193 w 155114"/>
                  <a:gd name="connsiteY16" fmla="*/ 20037 h 180936"/>
                  <a:gd name="connsiteX17" fmla="*/ 55138 w 155114"/>
                  <a:gd name="connsiteY17" fmla="*/ 25501 h 180936"/>
                  <a:gd name="connsiteX18" fmla="*/ 36355 w 155114"/>
                  <a:gd name="connsiteY18" fmla="*/ 40073 h 180936"/>
                  <a:gd name="connsiteX19" fmla="*/ 24843 w 155114"/>
                  <a:gd name="connsiteY19" fmla="*/ 62538 h 180936"/>
                  <a:gd name="connsiteX20" fmla="*/ 21207 w 155114"/>
                  <a:gd name="connsiteY20" fmla="*/ 91683 h 180936"/>
                  <a:gd name="connsiteX21" fmla="*/ 36961 w 155114"/>
                  <a:gd name="connsiteY21" fmla="*/ 142685 h 180936"/>
                  <a:gd name="connsiteX22" fmla="*/ 81799 w 155114"/>
                  <a:gd name="connsiteY22" fmla="*/ 160900 h 180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55114" h="180936">
                    <a:moveTo>
                      <a:pt x="81799" y="160900"/>
                    </a:moveTo>
                    <a:cubicBezTo>
                      <a:pt x="97553" y="160900"/>
                      <a:pt x="109671" y="157257"/>
                      <a:pt x="118154" y="149971"/>
                    </a:cubicBezTo>
                    <a:cubicBezTo>
                      <a:pt x="126636" y="142685"/>
                      <a:pt x="132090" y="132970"/>
                      <a:pt x="134513" y="120219"/>
                    </a:cubicBezTo>
                    <a:lnTo>
                      <a:pt x="155115" y="123862"/>
                    </a:lnTo>
                    <a:cubicBezTo>
                      <a:pt x="152085" y="142077"/>
                      <a:pt x="143602" y="156650"/>
                      <a:pt x="130878" y="166364"/>
                    </a:cubicBezTo>
                    <a:cubicBezTo>
                      <a:pt x="118154" y="176079"/>
                      <a:pt x="101794" y="180936"/>
                      <a:pt x="81193" y="180936"/>
                    </a:cubicBezTo>
                    <a:cubicBezTo>
                      <a:pt x="56350" y="180936"/>
                      <a:pt x="36355" y="173043"/>
                      <a:pt x="21813" y="156650"/>
                    </a:cubicBezTo>
                    <a:cubicBezTo>
                      <a:pt x="7271" y="140256"/>
                      <a:pt x="0" y="118398"/>
                      <a:pt x="0" y="90468"/>
                    </a:cubicBezTo>
                    <a:cubicBezTo>
                      <a:pt x="0" y="75896"/>
                      <a:pt x="1818" y="63146"/>
                      <a:pt x="6059" y="52217"/>
                    </a:cubicBezTo>
                    <a:cubicBezTo>
                      <a:pt x="9695" y="40680"/>
                      <a:pt x="15754" y="31573"/>
                      <a:pt x="22419" y="23680"/>
                    </a:cubicBezTo>
                    <a:cubicBezTo>
                      <a:pt x="29690" y="15786"/>
                      <a:pt x="38173" y="9715"/>
                      <a:pt x="47867" y="6072"/>
                    </a:cubicBezTo>
                    <a:cubicBezTo>
                      <a:pt x="58168" y="1822"/>
                      <a:pt x="69074" y="0"/>
                      <a:pt x="81193" y="0"/>
                    </a:cubicBezTo>
                    <a:cubicBezTo>
                      <a:pt x="101794" y="0"/>
                      <a:pt x="118154" y="4857"/>
                      <a:pt x="130878" y="14572"/>
                    </a:cubicBezTo>
                    <a:cubicBezTo>
                      <a:pt x="143602" y="24287"/>
                      <a:pt x="151479" y="38859"/>
                      <a:pt x="154509" y="57074"/>
                    </a:cubicBezTo>
                    <a:lnTo>
                      <a:pt x="133907" y="60717"/>
                    </a:lnTo>
                    <a:cubicBezTo>
                      <a:pt x="131484" y="49181"/>
                      <a:pt x="126031" y="39466"/>
                      <a:pt x="117548" y="31573"/>
                    </a:cubicBezTo>
                    <a:cubicBezTo>
                      <a:pt x="109065" y="23680"/>
                      <a:pt x="96947" y="20037"/>
                      <a:pt x="81193" y="20037"/>
                    </a:cubicBezTo>
                    <a:cubicBezTo>
                      <a:pt x="71498" y="20037"/>
                      <a:pt x="63015" y="21858"/>
                      <a:pt x="55138" y="25501"/>
                    </a:cubicBezTo>
                    <a:cubicBezTo>
                      <a:pt x="47867" y="29144"/>
                      <a:pt x="41202" y="34001"/>
                      <a:pt x="36355" y="40073"/>
                    </a:cubicBezTo>
                    <a:cubicBezTo>
                      <a:pt x="31508" y="46145"/>
                      <a:pt x="27872" y="53431"/>
                      <a:pt x="24843" y="62538"/>
                    </a:cubicBezTo>
                    <a:cubicBezTo>
                      <a:pt x="22419" y="71039"/>
                      <a:pt x="21207" y="80753"/>
                      <a:pt x="21207" y="91683"/>
                    </a:cubicBezTo>
                    <a:cubicBezTo>
                      <a:pt x="21207" y="112933"/>
                      <a:pt x="26660" y="129934"/>
                      <a:pt x="36961" y="142685"/>
                    </a:cubicBezTo>
                    <a:cubicBezTo>
                      <a:pt x="47867" y="154828"/>
                      <a:pt x="62409" y="160900"/>
                      <a:pt x="81799" y="16090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95F7A21D-6CE6-3D40-87B8-A27DCD746457}"/>
                  </a:ext>
                </a:extLst>
              </p:cNvPr>
              <p:cNvSpPr/>
              <p:nvPr/>
            </p:nvSpPr>
            <p:spPr>
              <a:xfrm>
                <a:off x="542858" y="5472210"/>
                <a:ext cx="115729" cy="128719"/>
              </a:xfrm>
              <a:custGeom>
                <a:avLst/>
                <a:gdLst>
                  <a:gd name="connsiteX0" fmla="*/ 58774 w 115729"/>
                  <a:gd name="connsiteY0" fmla="*/ 109898 h 128719"/>
                  <a:gd name="connsiteX1" fmla="*/ 86646 w 115729"/>
                  <a:gd name="connsiteY1" fmla="*/ 97754 h 128719"/>
                  <a:gd name="connsiteX2" fmla="*/ 95735 w 115729"/>
                  <a:gd name="connsiteY2" fmla="*/ 63753 h 128719"/>
                  <a:gd name="connsiteX3" fmla="*/ 86646 w 115729"/>
                  <a:gd name="connsiteY3" fmla="*/ 29751 h 128719"/>
                  <a:gd name="connsiteX4" fmla="*/ 58774 w 115729"/>
                  <a:gd name="connsiteY4" fmla="*/ 17608 h 128719"/>
                  <a:gd name="connsiteX5" fmla="*/ 30902 w 115729"/>
                  <a:gd name="connsiteY5" fmla="*/ 29751 h 128719"/>
                  <a:gd name="connsiteX6" fmla="*/ 21207 w 115729"/>
                  <a:gd name="connsiteY6" fmla="*/ 63753 h 128719"/>
                  <a:gd name="connsiteX7" fmla="*/ 31508 w 115729"/>
                  <a:gd name="connsiteY7" fmla="*/ 97754 h 128719"/>
                  <a:gd name="connsiteX8" fmla="*/ 58774 w 115729"/>
                  <a:gd name="connsiteY8" fmla="*/ 109898 h 128719"/>
                  <a:gd name="connsiteX9" fmla="*/ 58774 w 115729"/>
                  <a:gd name="connsiteY9" fmla="*/ 128720 h 128719"/>
                  <a:gd name="connsiteX10" fmla="*/ 35143 w 115729"/>
                  <a:gd name="connsiteY10" fmla="*/ 124470 h 128719"/>
                  <a:gd name="connsiteX11" fmla="*/ 16360 w 115729"/>
                  <a:gd name="connsiteY11" fmla="*/ 112326 h 128719"/>
                  <a:gd name="connsiteX12" fmla="*/ 4241 w 115729"/>
                  <a:gd name="connsiteY12" fmla="*/ 91683 h 128719"/>
                  <a:gd name="connsiteX13" fmla="*/ 0 w 115729"/>
                  <a:gd name="connsiteY13" fmla="*/ 64360 h 128719"/>
                  <a:gd name="connsiteX14" fmla="*/ 16360 w 115729"/>
                  <a:gd name="connsiteY14" fmla="*/ 17001 h 128719"/>
                  <a:gd name="connsiteX15" fmla="*/ 58774 w 115729"/>
                  <a:gd name="connsiteY15" fmla="*/ 0 h 128719"/>
                  <a:gd name="connsiteX16" fmla="*/ 99976 w 115729"/>
                  <a:gd name="connsiteY16" fmla="*/ 17001 h 128719"/>
                  <a:gd name="connsiteX17" fmla="*/ 115730 w 115729"/>
                  <a:gd name="connsiteY17" fmla="*/ 64360 h 128719"/>
                  <a:gd name="connsiteX18" fmla="*/ 99976 w 115729"/>
                  <a:gd name="connsiteY18" fmla="*/ 111719 h 128719"/>
                  <a:gd name="connsiteX19" fmla="*/ 58774 w 115729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29" h="128719">
                    <a:moveTo>
                      <a:pt x="58774" y="109898"/>
                    </a:moveTo>
                    <a:cubicBezTo>
                      <a:pt x="70892" y="109898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6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3" y="89254"/>
                      <a:pt x="31508" y="97754"/>
                    </a:cubicBezTo>
                    <a:cubicBezTo>
                      <a:pt x="38173" y="106255"/>
                      <a:pt x="47261" y="109898"/>
                      <a:pt x="58774" y="109898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3"/>
                    </a:cubicBezTo>
                    <a:cubicBezTo>
                      <a:pt x="1212" y="83789"/>
                      <a:pt x="0" y="74682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5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676" y="122648"/>
                      <a:pt x="76345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26B82B9C-C334-8B4F-8B44-53E8A3865E31}"/>
                  </a:ext>
                </a:extLst>
              </p:cNvPr>
              <p:cNvSpPr/>
              <p:nvPr/>
            </p:nvSpPr>
            <p:spPr>
              <a:xfrm>
                <a:off x="690095" y="5474639"/>
                <a:ext cx="97552" cy="123862"/>
              </a:xfrm>
              <a:custGeom>
                <a:avLst/>
                <a:gdLst>
                  <a:gd name="connsiteX0" fmla="*/ 56350 w 97552"/>
                  <a:gd name="connsiteY0" fmla="*/ 69217 h 123862"/>
                  <a:gd name="connsiteX1" fmla="*/ 19995 w 97552"/>
                  <a:gd name="connsiteY1" fmla="*/ 69217 h 123862"/>
                  <a:gd name="connsiteX2" fmla="*/ 19995 w 97552"/>
                  <a:gd name="connsiteY2" fmla="*/ 105647 h 123862"/>
                  <a:gd name="connsiteX3" fmla="*/ 56350 w 97552"/>
                  <a:gd name="connsiteY3" fmla="*/ 105647 h 123862"/>
                  <a:gd name="connsiteX4" fmla="*/ 73316 w 97552"/>
                  <a:gd name="connsiteY4" fmla="*/ 100790 h 123862"/>
                  <a:gd name="connsiteX5" fmla="*/ 78163 w 97552"/>
                  <a:gd name="connsiteY5" fmla="*/ 87432 h 123862"/>
                  <a:gd name="connsiteX6" fmla="*/ 72710 w 97552"/>
                  <a:gd name="connsiteY6" fmla="*/ 73467 h 123862"/>
                  <a:gd name="connsiteX7" fmla="*/ 56350 w 97552"/>
                  <a:gd name="connsiteY7" fmla="*/ 69217 h 123862"/>
                  <a:gd name="connsiteX8" fmla="*/ 52715 w 97552"/>
                  <a:gd name="connsiteY8" fmla="*/ 17608 h 123862"/>
                  <a:gd name="connsiteX9" fmla="*/ 19995 w 97552"/>
                  <a:gd name="connsiteY9" fmla="*/ 17608 h 123862"/>
                  <a:gd name="connsiteX10" fmla="*/ 19995 w 97552"/>
                  <a:gd name="connsiteY10" fmla="*/ 52216 h 123862"/>
                  <a:gd name="connsiteX11" fmla="*/ 54532 w 97552"/>
                  <a:gd name="connsiteY11" fmla="*/ 52216 h 123862"/>
                  <a:gd name="connsiteX12" fmla="*/ 69680 w 97552"/>
                  <a:gd name="connsiteY12" fmla="*/ 47966 h 123862"/>
                  <a:gd name="connsiteX13" fmla="*/ 74528 w 97552"/>
                  <a:gd name="connsiteY13" fmla="*/ 34609 h 123862"/>
                  <a:gd name="connsiteX14" fmla="*/ 69680 w 97552"/>
                  <a:gd name="connsiteY14" fmla="*/ 21251 h 123862"/>
                  <a:gd name="connsiteX15" fmla="*/ 52715 w 97552"/>
                  <a:gd name="connsiteY15" fmla="*/ 17608 h 123862"/>
                  <a:gd name="connsiteX16" fmla="*/ 0 w 97552"/>
                  <a:gd name="connsiteY16" fmla="*/ 123255 h 123862"/>
                  <a:gd name="connsiteX17" fmla="*/ 0 w 97552"/>
                  <a:gd name="connsiteY17" fmla="*/ 0 h 123862"/>
                  <a:gd name="connsiteX18" fmla="*/ 52715 w 97552"/>
                  <a:gd name="connsiteY18" fmla="*/ 0 h 123862"/>
                  <a:gd name="connsiteX19" fmla="*/ 83616 w 97552"/>
                  <a:gd name="connsiteY19" fmla="*/ 8500 h 123862"/>
                  <a:gd name="connsiteX20" fmla="*/ 94523 w 97552"/>
                  <a:gd name="connsiteY20" fmla="*/ 33394 h 123862"/>
                  <a:gd name="connsiteX21" fmla="*/ 90887 w 97552"/>
                  <a:gd name="connsiteY21" fmla="*/ 47966 h 123862"/>
                  <a:gd name="connsiteX22" fmla="*/ 76951 w 97552"/>
                  <a:gd name="connsiteY22" fmla="*/ 59502 h 123862"/>
                  <a:gd name="connsiteX23" fmla="*/ 92705 w 97552"/>
                  <a:gd name="connsiteY23" fmla="*/ 70432 h 123862"/>
                  <a:gd name="connsiteX24" fmla="*/ 97553 w 97552"/>
                  <a:gd name="connsiteY24" fmla="*/ 88647 h 123862"/>
                  <a:gd name="connsiteX25" fmla="*/ 87858 w 97552"/>
                  <a:gd name="connsiteY25" fmla="*/ 114148 h 123862"/>
                  <a:gd name="connsiteX26" fmla="*/ 56350 w 97552"/>
                  <a:gd name="connsiteY26" fmla="*/ 123862 h 123862"/>
                  <a:gd name="connsiteX27" fmla="*/ 0 w 97552"/>
                  <a:gd name="connsiteY27" fmla="*/ 123862 h 1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7552" h="123862">
                    <a:moveTo>
                      <a:pt x="56350" y="69217"/>
                    </a:moveTo>
                    <a:lnTo>
                      <a:pt x="19995" y="69217"/>
                    </a:lnTo>
                    <a:lnTo>
                      <a:pt x="19995" y="105647"/>
                    </a:lnTo>
                    <a:lnTo>
                      <a:pt x="56350" y="105647"/>
                    </a:lnTo>
                    <a:cubicBezTo>
                      <a:pt x="64227" y="105647"/>
                      <a:pt x="69680" y="103826"/>
                      <a:pt x="73316" y="100790"/>
                    </a:cubicBezTo>
                    <a:cubicBezTo>
                      <a:pt x="76345" y="97754"/>
                      <a:pt x="78163" y="93504"/>
                      <a:pt x="78163" y="87432"/>
                    </a:cubicBezTo>
                    <a:cubicBezTo>
                      <a:pt x="78163" y="80753"/>
                      <a:pt x="76345" y="76503"/>
                      <a:pt x="72710" y="73467"/>
                    </a:cubicBezTo>
                    <a:cubicBezTo>
                      <a:pt x="69680" y="71039"/>
                      <a:pt x="64227" y="69217"/>
                      <a:pt x="56350" y="69217"/>
                    </a:cubicBezTo>
                    <a:moveTo>
                      <a:pt x="52715" y="17608"/>
                    </a:moveTo>
                    <a:lnTo>
                      <a:pt x="19995" y="17608"/>
                    </a:lnTo>
                    <a:lnTo>
                      <a:pt x="19995" y="52216"/>
                    </a:lnTo>
                    <a:lnTo>
                      <a:pt x="54532" y="52216"/>
                    </a:lnTo>
                    <a:cubicBezTo>
                      <a:pt x="61198" y="52216"/>
                      <a:pt x="66651" y="51002"/>
                      <a:pt x="69680" y="47966"/>
                    </a:cubicBezTo>
                    <a:cubicBezTo>
                      <a:pt x="73316" y="44930"/>
                      <a:pt x="74528" y="40680"/>
                      <a:pt x="74528" y="34609"/>
                    </a:cubicBezTo>
                    <a:cubicBezTo>
                      <a:pt x="74528" y="28537"/>
                      <a:pt x="72710" y="24287"/>
                      <a:pt x="69680" y="21251"/>
                    </a:cubicBezTo>
                    <a:cubicBezTo>
                      <a:pt x="67257" y="19429"/>
                      <a:pt x="61198" y="17608"/>
                      <a:pt x="52715" y="17608"/>
                    </a:cubicBezTo>
                    <a:moveTo>
                      <a:pt x="0" y="123255"/>
                    </a:moveTo>
                    <a:lnTo>
                      <a:pt x="0" y="0"/>
                    </a:lnTo>
                    <a:lnTo>
                      <a:pt x="52715" y="0"/>
                    </a:lnTo>
                    <a:cubicBezTo>
                      <a:pt x="66045" y="0"/>
                      <a:pt x="76345" y="3036"/>
                      <a:pt x="83616" y="8500"/>
                    </a:cubicBezTo>
                    <a:cubicBezTo>
                      <a:pt x="90887" y="13965"/>
                      <a:pt x="94523" y="22465"/>
                      <a:pt x="94523" y="33394"/>
                    </a:cubicBezTo>
                    <a:cubicBezTo>
                      <a:pt x="94523" y="38252"/>
                      <a:pt x="93311" y="43109"/>
                      <a:pt x="90887" y="47966"/>
                    </a:cubicBezTo>
                    <a:cubicBezTo>
                      <a:pt x="88464" y="52824"/>
                      <a:pt x="84222" y="57074"/>
                      <a:pt x="76951" y="59502"/>
                    </a:cubicBezTo>
                    <a:cubicBezTo>
                      <a:pt x="84222" y="61931"/>
                      <a:pt x="89676" y="65574"/>
                      <a:pt x="92705" y="70432"/>
                    </a:cubicBezTo>
                    <a:cubicBezTo>
                      <a:pt x="95735" y="75289"/>
                      <a:pt x="97553" y="81361"/>
                      <a:pt x="97553" y="88647"/>
                    </a:cubicBezTo>
                    <a:cubicBezTo>
                      <a:pt x="97553" y="98968"/>
                      <a:pt x="94523" y="107469"/>
                      <a:pt x="87858" y="114148"/>
                    </a:cubicBezTo>
                    <a:cubicBezTo>
                      <a:pt x="81193" y="120219"/>
                      <a:pt x="70892" y="123862"/>
                      <a:pt x="56350" y="123862"/>
                    </a:cubicBezTo>
                    <a:lnTo>
                      <a:pt x="0" y="123862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4343383-0ABD-2B40-A082-B3607EEAF702}"/>
                  </a:ext>
                </a:extLst>
              </p:cNvPr>
              <p:cNvSpPr/>
              <p:nvPr/>
            </p:nvSpPr>
            <p:spPr>
              <a:xfrm>
                <a:off x="810673" y="5472818"/>
                <a:ext cx="110276" cy="128112"/>
              </a:xfrm>
              <a:custGeom>
                <a:avLst/>
                <a:gdLst>
                  <a:gd name="connsiteX0" fmla="*/ 57562 w 110276"/>
                  <a:gd name="connsiteY0" fmla="*/ 17001 h 128112"/>
                  <a:gd name="connsiteX1" fmla="*/ 33931 w 110276"/>
                  <a:gd name="connsiteY1" fmla="*/ 26108 h 128112"/>
                  <a:gd name="connsiteX2" fmla="*/ 21813 w 110276"/>
                  <a:gd name="connsiteY2" fmla="*/ 49788 h 128112"/>
                  <a:gd name="connsiteX3" fmla="*/ 90887 w 110276"/>
                  <a:gd name="connsiteY3" fmla="*/ 49788 h 128112"/>
                  <a:gd name="connsiteX4" fmla="*/ 82405 w 110276"/>
                  <a:gd name="connsiteY4" fmla="*/ 26108 h 128112"/>
                  <a:gd name="connsiteX5" fmla="*/ 57562 w 110276"/>
                  <a:gd name="connsiteY5" fmla="*/ 17001 h 128112"/>
                  <a:gd name="connsiteX6" fmla="*/ 110277 w 110276"/>
                  <a:gd name="connsiteY6" fmla="*/ 67396 h 128112"/>
                  <a:gd name="connsiteX7" fmla="*/ 20601 w 110276"/>
                  <a:gd name="connsiteY7" fmla="*/ 67396 h 128112"/>
                  <a:gd name="connsiteX8" fmla="*/ 32114 w 110276"/>
                  <a:gd name="connsiteY8" fmla="*/ 98969 h 128112"/>
                  <a:gd name="connsiteX9" fmla="*/ 58168 w 110276"/>
                  <a:gd name="connsiteY9" fmla="*/ 109897 h 128112"/>
                  <a:gd name="connsiteX10" fmla="*/ 80587 w 110276"/>
                  <a:gd name="connsiteY10" fmla="*/ 103219 h 128112"/>
                  <a:gd name="connsiteX11" fmla="*/ 90887 w 110276"/>
                  <a:gd name="connsiteY11" fmla="*/ 87432 h 128112"/>
                  <a:gd name="connsiteX12" fmla="*/ 110277 w 110276"/>
                  <a:gd name="connsiteY12" fmla="*/ 91075 h 128112"/>
                  <a:gd name="connsiteX13" fmla="*/ 92099 w 110276"/>
                  <a:gd name="connsiteY13" fmla="*/ 118398 h 128112"/>
                  <a:gd name="connsiteX14" fmla="*/ 57562 w 110276"/>
                  <a:gd name="connsiteY14" fmla="*/ 128113 h 128112"/>
                  <a:gd name="connsiteX15" fmla="*/ 15754 w 110276"/>
                  <a:gd name="connsiteY15" fmla="*/ 111112 h 128112"/>
                  <a:gd name="connsiteX16" fmla="*/ 0 w 110276"/>
                  <a:gd name="connsiteY16" fmla="*/ 63753 h 128112"/>
                  <a:gd name="connsiteX17" fmla="*/ 4241 w 110276"/>
                  <a:gd name="connsiteY17" fmla="*/ 36430 h 128112"/>
                  <a:gd name="connsiteX18" fmla="*/ 16360 w 110276"/>
                  <a:gd name="connsiteY18" fmla="*/ 16394 h 128112"/>
                  <a:gd name="connsiteX19" fmla="*/ 34537 w 110276"/>
                  <a:gd name="connsiteY19" fmla="*/ 4250 h 128112"/>
                  <a:gd name="connsiteX20" fmla="*/ 56956 w 110276"/>
                  <a:gd name="connsiteY20" fmla="*/ 0 h 128112"/>
                  <a:gd name="connsiteX21" fmla="*/ 95735 w 110276"/>
                  <a:gd name="connsiteY21" fmla="*/ 15786 h 128112"/>
                  <a:gd name="connsiteX22" fmla="*/ 110277 w 110276"/>
                  <a:gd name="connsiteY22" fmla="*/ 59503 h 128112"/>
                  <a:gd name="connsiteX23" fmla="*/ 110277 w 110276"/>
                  <a:gd name="connsiteY23" fmla="*/ 67396 h 12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0276" h="128112">
                    <a:moveTo>
                      <a:pt x="57562" y="17001"/>
                    </a:moveTo>
                    <a:cubicBezTo>
                      <a:pt x="47867" y="17001"/>
                      <a:pt x="39991" y="20037"/>
                      <a:pt x="33931" y="26108"/>
                    </a:cubicBezTo>
                    <a:cubicBezTo>
                      <a:pt x="27266" y="32180"/>
                      <a:pt x="23631" y="40073"/>
                      <a:pt x="21813" y="49788"/>
                    </a:cubicBezTo>
                    <a:lnTo>
                      <a:pt x="90887" y="49788"/>
                    </a:lnTo>
                    <a:cubicBezTo>
                      <a:pt x="90282" y="40073"/>
                      <a:pt x="87252" y="32180"/>
                      <a:pt x="82405" y="26108"/>
                    </a:cubicBezTo>
                    <a:cubicBezTo>
                      <a:pt x="75740" y="20037"/>
                      <a:pt x="67863" y="17001"/>
                      <a:pt x="57562" y="17001"/>
                    </a:cubicBezTo>
                    <a:moveTo>
                      <a:pt x="110277" y="67396"/>
                    </a:moveTo>
                    <a:lnTo>
                      <a:pt x="20601" y="67396"/>
                    </a:lnTo>
                    <a:cubicBezTo>
                      <a:pt x="21207" y="81361"/>
                      <a:pt x="24843" y="91682"/>
                      <a:pt x="32114" y="98969"/>
                    </a:cubicBezTo>
                    <a:cubicBezTo>
                      <a:pt x="38779" y="106255"/>
                      <a:pt x="47867" y="109897"/>
                      <a:pt x="58168" y="109897"/>
                    </a:cubicBezTo>
                    <a:cubicBezTo>
                      <a:pt x="67863" y="109897"/>
                      <a:pt x="75134" y="107469"/>
                      <a:pt x="80587" y="103219"/>
                    </a:cubicBezTo>
                    <a:cubicBezTo>
                      <a:pt x="86040" y="98969"/>
                      <a:pt x="89070" y="93504"/>
                      <a:pt x="90887" y="87432"/>
                    </a:cubicBezTo>
                    <a:lnTo>
                      <a:pt x="110277" y="91075"/>
                    </a:lnTo>
                    <a:cubicBezTo>
                      <a:pt x="107247" y="102611"/>
                      <a:pt x="101188" y="111719"/>
                      <a:pt x="92099" y="118398"/>
                    </a:cubicBezTo>
                    <a:cubicBezTo>
                      <a:pt x="83011" y="125077"/>
                      <a:pt x="71498" y="128113"/>
                      <a:pt x="57562" y="128113"/>
                    </a:cubicBezTo>
                    <a:cubicBezTo>
                      <a:pt x="39991" y="128113"/>
                      <a:pt x="26054" y="122648"/>
                      <a:pt x="15754" y="111112"/>
                    </a:cubicBezTo>
                    <a:cubicBezTo>
                      <a:pt x="5453" y="99576"/>
                      <a:pt x="0" y="83789"/>
                      <a:pt x="0" y="63753"/>
                    </a:cubicBezTo>
                    <a:cubicBezTo>
                      <a:pt x="0" y="53431"/>
                      <a:pt x="1212" y="44323"/>
                      <a:pt x="4241" y="36430"/>
                    </a:cubicBezTo>
                    <a:cubicBezTo>
                      <a:pt x="7271" y="28537"/>
                      <a:pt x="11512" y="21858"/>
                      <a:pt x="16360" y="16394"/>
                    </a:cubicBezTo>
                    <a:cubicBezTo>
                      <a:pt x="21207" y="10929"/>
                      <a:pt x="27872" y="6679"/>
                      <a:pt x="34537" y="4250"/>
                    </a:cubicBezTo>
                    <a:cubicBezTo>
                      <a:pt x="41808" y="1214"/>
                      <a:pt x="49079" y="0"/>
                      <a:pt x="56956" y="0"/>
                    </a:cubicBezTo>
                    <a:cubicBezTo>
                      <a:pt x="73316" y="0"/>
                      <a:pt x="86040" y="5464"/>
                      <a:pt x="95735" y="15786"/>
                    </a:cubicBezTo>
                    <a:cubicBezTo>
                      <a:pt x="105429" y="26108"/>
                      <a:pt x="110277" y="40680"/>
                      <a:pt x="110277" y="59503"/>
                    </a:cubicBezTo>
                    <a:lnTo>
                      <a:pt x="110277" y="6739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9B15B812-661C-8541-A3A5-7627839E7AD2}"/>
                  </a:ext>
                </a:extLst>
              </p:cNvPr>
              <p:cNvSpPr/>
              <p:nvPr/>
            </p:nvSpPr>
            <p:spPr>
              <a:xfrm>
                <a:off x="951245" y="5471603"/>
                <a:ext cx="116335" cy="176686"/>
              </a:xfrm>
              <a:custGeom>
                <a:avLst/>
                <a:gdLst>
                  <a:gd name="connsiteX0" fmla="*/ 20601 w 116335"/>
                  <a:gd name="connsiteY0" fmla="*/ 74682 h 176686"/>
                  <a:gd name="connsiteX1" fmla="*/ 32114 w 116335"/>
                  <a:gd name="connsiteY1" fmla="*/ 100790 h 176686"/>
                  <a:gd name="connsiteX2" fmla="*/ 59380 w 116335"/>
                  <a:gd name="connsiteY2" fmla="*/ 110505 h 176686"/>
                  <a:gd name="connsiteX3" fmla="*/ 86040 w 116335"/>
                  <a:gd name="connsiteY3" fmla="*/ 97754 h 176686"/>
                  <a:gd name="connsiteX4" fmla="*/ 95735 w 116335"/>
                  <a:gd name="connsiteY4" fmla="*/ 63753 h 176686"/>
                  <a:gd name="connsiteX5" fmla="*/ 86040 w 116335"/>
                  <a:gd name="connsiteY5" fmla="*/ 30966 h 176686"/>
                  <a:gd name="connsiteX6" fmla="*/ 58774 w 116335"/>
                  <a:gd name="connsiteY6" fmla="*/ 18215 h 176686"/>
                  <a:gd name="connsiteX7" fmla="*/ 44838 w 116335"/>
                  <a:gd name="connsiteY7" fmla="*/ 20644 h 176686"/>
                  <a:gd name="connsiteX8" fmla="*/ 32719 w 116335"/>
                  <a:gd name="connsiteY8" fmla="*/ 28537 h 176686"/>
                  <a:gd name="connsiteX9" fmla="*/ 24237 w 116335"/>
                  <a:gd name="connsiteY9" fmla="*/ 41287 h 176686"/>
                  <a:gd name="connsiteX10" fmla="*/ 21207 w 116335"/>
                  <a:gd name="connsiteY10" fmla="*/ 58895 h 176686"/>
                  <a:gd name="connsiteX11" fmla="*/ 21207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20601" y="74682"/>
                    </a:moveTo>
                    <a:cubicBezTo>
                      <a:pt x="20601" y="86218"/>
                      <a:pt x="24237" y="94718"/>
                      <a:pt x="32114" y="100790"/>
                    </a:cubicBezTo>
                    <a:cubicBezTo>
                      <a:pt x="39990" y="106862"/>
                      <a:pt x="49079" y="110505"/>
                      <a:pt x="59380" y="110505"/>
                    </a:cubicBezTo>
                    <a:cubicBezTo>
                      <a:pt x="70892" y="110505"/>
                      <a:pt x="79375" y="106255"/>
                      <a:pt x="86040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50395"/>
                      <a:pt x="92705" y="39466"/>
                      <a:pt x="86040" y="30966"/>
                    </a:cubicBezTo>
                    <a:cubicBezTo>
                      <a:pt x="79375" y="22465"/>
                      <a:pt x="70286" y="18215"/>
                      <a:pt x="58774" y="18215"/>
                    </a:cubicBezTo>
                    <a:cubicBezTo>
                      <a:pt x="53927" y="18215"/>
                      <a:pt x="49079" y="18822"/>
                      <a:pt x="44838" y="20644"/>
                    </a:cubicBezTo>
                    <a:cubicBezTo>
                      <a:pt x="40596" y="22465"/>
                      <a:pt x="36355" y="24894"/>
                      <a:pt x="32719" y="28537"/>
                    </a:cubicBezTo>
                    <a:cubicBezTo>
                      <a:pt x="29084" y="32180"/>
                      <a:pt x="26054" y="36430"/>
                      <a:pt x="24237" y="41287"/>
                    </a:cubicBezTo>
                    <a:cubicBezTo>
                      <a:pt x="21813" y="46752"/>
                      <a:pt x="21207" y="52216"/>
                      <a:pt x="21207" y="58895"/>
                    </a:cubicBezTo>
                    <a:lnTo>
                      <a:pt x="21207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3358"/>
                      <a:pt x="30902" y="8500"/>
                      <a:pt x="38779" y="4857"/>
                    </a:cubicBezTo>
                    <a:cubicBezTo>
                      <a:pt x="46050" y="1821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2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2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68E3F17D-9289-8743-B858-55A7CC94942D}"/>
                </a:ext>
              </a:extLst>
            </p:cNvPr>
            <p:cNvSpPr/>
            <p:nvPr/>
          </p:nvSpPr>
          <p:spPr>
            <a:xfrm>
              <a:off x="1098483" y="5474639"/>
              <a:ext cx="161779" cy="123255"/>
            </a:xfrm>
            <a:custGeom>
              <a:avLst/>
              <a:gdLst>
                <a:gd name="connsiteX0" fmla="*/ 161780 w 161779"/>
                <a:gd name="connsiteY0" fmla="*/ 0 h 123255"/>
                <a:gd name="connsiteX1" fmla="*/ 161780 w 161779"/>
                <a:gd name="connsiteY1" fmla="*/ 123255 h 123255"/>
                <a:gd name="connsiteX2" fmla="*/ 0 w 161779"/>
                <a:gd name="connsiteY2" fmla="*/ 123255 h 123255"/>
                <a:gd name="connsiteX3" fmla="*/ 0 w 161779"/>
                <a:gd name="connsiteY3" fmla="*/ 0 h 123255"/>
                <a:gd name="connsiteX4" fmla="*/ 20601 w 161779"/>
                <a:gd name="connsiteY4" fmla="*/ 0 h 123255"/>
                <a:gd name="connsiteX5" fmla="*/ 20601 w 161779"/>
                <a:gd name="connsiteY5" fmla="*/ 104433 h 123255"/>
                <a:gd name="connsiteX6" fmla="*/ 70892 w 161779"/>
                <a:gd name="connsiteY6" fmla="*/ 104433 h 123255"/>
                <a:gd name="connsiteX7" fmla="*/ 70892 w 161779"/>
                <a:gd name="connsiteY7" fmla="*/ 0 h 123255"/>
                <a:gd name="connsiteX8" fmla="*/ 90887 w 161779"/>
                <a:gd name="connsiteY8" fmla="*/ 0 h 123255"/>
                <a:gd name="connsiteX9" fmla="*/ 90887 w 161779"/>
                <a:gd name="connsiteY9" fmla="*/ 104433 h 123255"/>
                <a:gd name="connsiteX10" fmla="*/ 141178 w 161779"/>
                <a:gd name="connsiteY10" fmla="*/ 104433 h 123255"/>
                <a:gd name="connsiteX11" fmla="*/ 141178 w 161779"/>
                <a:gd name="connsiteY11" fmla="*/ 0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779" h="123255">
                  <a:moveTo>
                    <a:pt x="161780" y="0"/>
                  </a:moveTo>
                  <a:lnTo>
                    <a:pt x="161780" y="123255"/>
                  </a:lnTo>
                  <a:lnTo>
                    <a:pt x="0" y="123255"/>
                  </a:lnTo>
                  <a:lnTo>
                    <a:pt x="0" y="0"/>
                  </a:lnTo>
                  <a:lnTo>
                    <a:pt x="20601" y="0"/>
                  </a:lnTo>
                  <a:lnTo>
                    <a:pt x="20601" y="104433"/>
                  </a:lnTo>
                  <a:lnTo>
                    <a:pt x="70892" y="104433"/>
                  </a:lnTo>
                  <a:lnTo>
                    <a:pt x="70892" y="0"/>
                  </a:lnTo>
                  <a:lnTo>
                    <a:pt x="90887" y="0"/>
                  </a:lnTo>
                  <a:lnTo>
                    <a:pt x="90887" y="104433"/>
                  </a:lnTo>
                  <a:lnTo>
                    <a:pt x="141178" y="104433"/>
                  </a:lnTo>
                  <a:lnTo>
                    <a:pt x="141178" y="0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54E1483-9F2B-AC4E-93A0-547C66756421}"/>
                </a:ext>
              </a:extLst>
            </p:cNvPr>
            <p:cNvSpPr/>
            <p:nvPr/>
          </p:nvSpPr>
          <p:spPr>
            <a:xfrm>
              <a:off x="1290558" y="5472818"/>
              <a:ext cx="110882" cy="128112"/>
            </a:xfrm>
            <a:custGeom>
              <a:avLst/>
              <a:gdLst>
                <a:gd name="connsiteX0" fmla="*/ 57562 w 110882"/>
                <a:gd name="connsiteY0" fmla="*/ 17001 h 128112"/>
                <a:gd name="connsiteX1" fmla="*/ 33931 w 110882"/>
                <a:gd name="connsiteY1" fmla="*/ 26108 h 128112"/>
                <a:gd name="connsiteX2" fmla="*/ 21813 w 110882"/>
                <a:gd name="connsiteY2" fmla="*/ 49788 h 128112"/>
                <a:gd name="connsiteX3" fmla="*/ 90887 w 110882"/>
                <a:gd name="connsiteY3" fmla="*/ 49788 h 128112"/>
                <a:gd name="connsiteX4" fmla="*/ 82405 w 110882"/>
                <a:gd name="connsiteY4" fmla="*/ 26108 h 128112"/>
                <a:gd name="connsiteX5" fmla="*/ 57562 w 110882"/>
                <a:gd name="connsiteY5" fmla="*/ 17001 h 128112"/>
                <a:gd name="connsiteX6" fmla="*/ 110883 w 110882"/>
                <a:gd name="connsiteY6" fmla="*/ 67396 h 128112"/>
                <a:gd name="connsiteX7" fmla="*/ 20601 w 110882"/>
                <a:gd name="connsiteY7" fmla="*/ 67396 h 128112"/>
                <a:gd name="connsiteX8" fmla="*/ 32114 w 110882"/>
                <a:gd name="connsiteY8" fmla="*/ 98969 h 128112"/>
                <a:gd name="connsiteX9" fmla="*/ 58168 w 110882"/>
                <a:gd name="connsiteY9" fmla="*/ 109897 h 128112"/>
                <a:gd name="connsiteX10" fmla="*/ 80587 w 110882"/>
                <a:gd name="connsiteY10" fmla="*/ 103219 h 128112"/>
                <a:gd name="connsiteX11" fmla="*/ 90887 w 110882"/>
                <a:gd name="connsiteY11" fmla="*/ 87432 h 128112"/>
                <a:gd name="connsiteX12" fmla="*/ 110277 w 110882"/>
                <a:gd name="connsiteY12" fmla="*/ 91075 h 128112"/>
                <a:gd name="connsiteX13" fmla="*/ 92099 w 110882"/>
                <a:gd name="connsiteY13" fmla="*/ 118398 h 128112"/>
                <a:gd name="connsiteX14" fmla="*/ 57562 w 110882"/>
                <a:gd name="connsiteY14" fmla="*/ 128113 h 128112"/>
                <a:gd name="connsiteX15" fmla="*/ 15754 w 110882"/>
                <a:gd name="connsiteY15" fmla="*/ 111112 h 128112"/>
                <a:gd name="connsiteX16" fmla="*/ 0 w 110882"/>
                <a:gd name="connsiteY16" fmla="*/ 63753 h 128112"/>
                <a:gd name="connsiteX17" fmla="*/ 4241 w 110882"/>
                <a:gd name="connsiteY17" fmla="*/ 36430 h 128112"/>
                <a:gd name="connsiteX18" fmla="*/ 16360 w 110882"/>
                <a:gd name="connsiteY18" fmla="*/ 16394 h 128112"/>
                <a:gd name="connsiteX19" fmla="*/ 34537 w 110882"/>
                <a:gd name="connsiteY19" fmla="*/ 4250 h 128112"/>
                <a:gd name="connsiteX20" fmla="*/ 56956 w 110882"/>
                <a:gd name="connsiteY20" fmla="*/ 0 h 128112"/>
                <a:gd name="connsiteX21" fmla="*/ 95735 w 110882"/>
                <a:gd name="connsiteY21" fmla="*/ 15786 h 128112"/>
                <a:gd name="connsiteX22" fmla="*/ 110277 w 110882"/>
                <a:gd name="connsiteY22" fmla="*/ 59503 h 128112"/>
                <a:gd name="connsiteX23" fmla="*/ 110277 w 110882"/>
                <a:gd name="connsiteY23" fmla="*/ 67396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0882" h="128112">
                  <a:moveTo>
                    <a:pt x="57562" y="17001"/>
                  </a:moveTo>
                  <a:cubicBezTo>
                    <a:pt x="47867" y="17001"/>
                    <a:pt x="39991" y="20037"/>
                    <a:pt x="33931" y="26108"/>
                  </a:cubicBezTo>
                  <a:cubicBezTo>
                    <a:pt x="27266" y="32180"/>
                    <a:pt x="23631" y="40073"/>
                    <a:pt x="21813" y="49788"/>
                  </a:cubicBezTo>
                  <a:lnTo>
                    <a:pt x="90887" y="49788"/>
                  </a:lnTo>
                  <a:cubicBezTo>
                    <a:pt x="90282" y="40073"/>
                    <a:pt x="87252" y="32180"/>
                    <a:pt x="82405" y="26108"/>
                  </a:cubicBezTo>
                  <a:cubicBezTo>
                    <a:pt x="76345" y="20037"/>
                    <a:pt x="67863" y="17001"/>
                    <a:pt x="57562" y="17001"/>
                  </a:cubicBezTo>
                  <a:moveTo>
                    <a:pt x="110883" y="67396"/>
                  </a:moveTo>
                  <a:lnTo>
                    <a:pt x="20601" y="67396"/>
                  </a:lnTo>
                  <a:cubicBezTo>
                    <a:pt x="21207" y="81361"/>
                    <a:pt x="24843" y="91682"/>
                    <a:pt x="32114" y="98969"/>
                  </a:cubicBezTo>
                  <a:cubicBezTo>
                    <a:pt x="38779" y="106255"/>
                    <a:pt x="47867" y="109897"/>
                    <a:pt x="58168" y="109897"/>
                  </a:cubicBezTo>
                  <a:cubicBezTo>
                    <a:pt x="67863" y="109897"/>
                    <a:pt x="75134" y="107469"/>
                    <a:pt x="80587" y="103219"/>
                  </a:cubicBezTo>
                  <a:cubicBezTo>
                    <a:pt x="86040" y="98969"/>
                    <a:pt x="89070" y="93504"/>
                    <a:pt x="90887" y="87432"/>
                  </a:cubicBezTo>
                  <a:lnTo>
                    <a:pt x="110277" y="91075"/>
                  </a:lnTo>
                  <a:cubicBezTo>
                    <a:pt x="107247" y="102611"/>
                    <a:pt x="101188" y="111719"/>
                    <a:pt x="92099" y="118398"/>
                  </a:cubicBezTo>
                  <a:cubicBezTo>
                    <a:pt x="83011" y="125077"/>
                    <a:pt x="71498" y="128113"/>
                    <a:pt x="57562" y="128113"/>
                  </a:cubicBezTo>
                  <a:cubicBezTo>
                    <a:pt x="39991" y="128113"/>
                    <a:pt x="26054" y="122648"/>
                    <a:pt x="15754" y="111112"/>
                  </a:cubicBezTo>
                  <a:cubicBezTo>
                    <a:pt x="5453" y="99576"/>
                    <a:pt x="0" y="83789"/>
                    <a:pt x="0" y="63753"/>
                  </a:cubicBezTo>
                  <a:cubicBezTo>
                    <a:pt x="0" y="53431"/>
                    <a:pt x="1212" y="44323"/>
                    <a:pt x="4241" y="36430"/>
                  </a:cubicBezTo>
                  <a:cubicBezTo>
                    <a:pt x="7271" y="28537"/>
                    <a:pt x="11512" y="21858"/>
                    <a:pt x="16360" y="16394"/>
                  </a:cubicBezTo>
                  <a:cubicBezTo>
                    <a:pt x="21207" y="10929"/>
                    <a:pt x="27872" y="6679"/>
                    <a:pt x="34537" y="4250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3316" y="0"/>
                    <a:pt x="86040" y="5464"/>
                    <a:pt x="95735" y="15786"/>
                  </a:cubicBezTo>
                  <a:cubicBezTo>
                    <a:pt x="105429" y="26108"/>
                    <a:pt x="110277" y="40680"/>
                    <a:pt x="110277" y="59503"/>
                  </a:cubicBezTo>
                  <a:lnTo>
                    <a:pt x="110277" y="67396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51C6711-C525-4548-BB5B-1E5B822DDE63}"/>
                </a:ext>
              </a:extLst>
            </p:cNvPr>
            <p:cNvSpPr/>
            <p:nvPr/>
          </p:nvSpPr>
          <p:spPr>
            <a:xfrm>
              <a:off x="1431131" y="5474639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508021A-96C6-BE48-A295-51199599BC66}"/>
                </a:ext>
              </a:extLst>
            </p:cNvPr>
            <p:cNvSpPr/>
            <p:nvPr/>
          </p:nvSpPr>
          <p:spPr>
            <a:xfrm>
              <a:off x="1568674" y="5471603"/>
              <a:ext cx="109064" cy="128719"/>
            </a:xfrm>
            <a:custGeom>
              <a:avLst/>
              <a:gdLst>
                <a:gd name="connsiteX0" fmla="*/ 89676 w 109064"/>
                <a:gd name="connsiteY0" fmla="*/ 86218 h 128719"/>
                <a:gd name="connsiteX1" fmla="*/ 109065 w 109064"/>
                <a:gd name="connsiteY1" fmla="*/ 89254 h 128719"/>
                <a:gd name="connsiteX2" fmla="*/ 92705 w 109064"/>
                <a:gd name="connsiteY2" fmla="*/ 117183 h 128719"/>
                <a:gd name="connsiteX3" fmla="*/ 56956 w 109064"/>
                <a:gd name="connsiteY3" fmla="*/ 128720 h 128719"/>
                <a:gd name="connsiteX4" fmla="*/ 15754 w 109064"/>
                <a:gd name="connsiteY4" fmla="*/ 112326 h 128719"/>
                <a:gd name="connsiteX5" fmla="*/ 0 w 109064"/>
                <a:gd name="connsiteY5" fmla="*/ 64360 h 128719"/>
                <a:gd name="connsiteX6" fmla="*/ 4241 w 109064"/>
                <a:gd name="connsiteY6" fmla="*/ 35823 h 128719"/>
                <a:gd name="connsiteX7" fmla="*/ 16360 w 109064"/>
                <a:gd name="connsiteY7" fmla="*/ 15786 h 128719"/>
                <a:gd name="connsiteX8" fmla="*/ 34537 w 109064"/>
                <a:gd name="connsiteY8" fmla="*/ 3643 h 128719"/>
                <a:gd name="connsiteX9" fmla="*/ 56956 w 109064"/>
                <a:gd name="connsiteY9" fmla="*/ 0 h 128719"/>
                <a:gd name="connsiteX10" fmla="*/ 93311 w 109064"/>
                <a:gd name="connsiteY10" fmla="*/ 11536 h 128719"/>
                <a:gd name="connsiteX11" fmla="*/ 109065 w 109064"/>
                <a:gd name="connsiteY11" fmla="*/ 38859 h 128719"/>
                <a:gd name="connsiteX12" fmla="*/ 90281 w 109064"/>
                <a:gd name="connsiteY12" fmla="*/ 42502 h 128719"/>
                <a:gd name="connsiteX13" fmla="*/ 80587 w 109064"/>
                <a:gd name="connsiteY13" fmla="*/ 26108 h 128719"/>
                <a:gd name="connsiteX14" fmla="*/ 57562 w 109064"/>
                <a:gd name="connsiteY14" fmla="*/ 18215 h 128719"/>
                <a:gd name="connsiteX15" fmla="*/ 30296 w 109064"/>
                <a:gd name="connsiteY15" fmla="*/ 30358 h 128719"/>
                <a:gd name="connsiteX16" fmla="*/ 20601 w 109064"/>
                <a:gd name="connsiteY16" fmla="*/ 63753 h 128719"/>
                <a:gd name="connsiteX17" fmla="*/ 30296 w 109064"/>
                <a:gd name="connsiteY17" fmla="*/ 97147 h 128719"/>
                <a:gd name="connsiteX18" fmla="*/ 57562 w 109064"/>
                <a:gd name="connsiteY18" fmla="*/ 109897 h 128719"/>
                <a:gd name="connsiteX19" fmla="*/ 81193 w 109064"/>
                <a:gd name="connsiteY19" fmla="*/ 102004 h 128719"/>
                <a:gd name="connsiteX20" fmla="*/ 89676 w 109064"/>
                <a:gd name="connsiteY20" fmla="*/ 86218 h 128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064" h="128719">
                  <a:moveTo>
                    <a:pt x="89676" y="86218"/>
                  </a:moveTo>
                  <a:lnTo>
                    <a:pt x="109065" y="89254"/>
                  </a:lnTo>
                  <a:cubicBezTo>
                    <a:pt x="106641" y="100183"/>
                    <a:pt x="101188" y="109897"/>
                    <a:pt x="92705" y="117183"/>
                  </a:cubicBezTo>
                  <a:cubicBezTo>
                    <a:pt x="84222" y="125077"/>
                    <a:pt x="72104" y="128720"/>
                    <a:pt x="56956" y="128720"/>
                  </a:cubicBezTo>
                  <a:cubicBezTo>
                    <a:pt x="39990" y="128720"/>
                    <a:pt x="26054" y="123255"/>
                    <a:pt x="15754" y="112326"/>
                  </a:cubicBezTo>
                  <a:cubicBezTo>
                    <a:pt x="5453" y="101397"/>
                    <a:pt x="0" y="85611"/>
                    <a:pt x="0" y="64360"/>
                  </a:cubicBezTo>
                  <a:cubicBezTo>
                    <a:pt x="0" y="53431"/>
                    <a:pt x="1212" y="43716"/>
                    <a:pt x="4241" y="35823"/>
                  </a:cubicBezTo>
                  <a:cubicBezTo>
                    <a:pt x="7271" y="27930"/>
                    <a:pt x="11512" y="21251"/>
                    <a:pt x="16360" y="15786"/>
                  </a:cubicBezTo>
                  <a:cubicBezTo>
                    <a:pt x="21207" y="10322"/>
                    <a:pt x="27266" y="6679"/>
                    <a:pt x="34537" y="3643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2710" y="0"/>
                    <a:pt x="84828" y="3643"/>
                    <a:pt x="93311" y="11536"/>
                  </a:cubicBezTo>
                  <a:cubicBezTo>
                    <a:pt x="101794" y="19429"/>
                    <a:pt x="106641" y="28537"/>
                    <a:pt x="109065" y="38859"/>
                  </a:cubicBezTo>
                  <a:lnTo>
                    <a:pt x="90281" y="42502"/>
                  </a:lnTo>
                  <a:cubicBezTo>
                    <a:pt x="88464" y="36430"/>
                    <a:pt x="85434" y="30966"/>
                    <a:pt x="80587" y="26108"/>
                  </a:cubicBezTo>
                  <a:cubicBezTo>
                    <a:pt x="75740" y="21251"/>
                    <a:pt x="67863" y="18215"/>
                    <a:pt x="57562" y="18215"/>
                  </a:cubicBezTo>
                  <a:cubicBezTo>
                    <a:pt x="46050" y="18215"/>
                    <a:pt x="36961" y="22465"/>
                    <a:pt x="30296" y="30358"/>
                  </a:cubicBezTo>
                  <a:cubicBezTo>
                    <a:pt x="23631" y="38859"/>
                    <a:pt x="20601" y="49788"/>
                    <a:pt x="20601" y="63753"/>
                  </a:cubicBezTo>
                  <a:cubicBezTo>
                    <a:pt x="20601" y="77718"/>
                    <a:pt x="23631" y="88647"/>
                    <a:pt x="30296" y="97147"/>
                  </a:cubicBezTo>
                  <a:cubicBezTo>
                    <a:pt x="36355" y="105647"/>
                    <a:pt x="45444" y="109897"/>
                    <a:pt x="57562" y="109897"/>
                  </a:cubicBezTo>
                  <a:cubicBezTo>
                    <a:pt x="68469" y="109897"/>
                    <a:pt x="76345" y="107469"/>
                    <a:pt x="81193" y="102004"/>
                  </a:cubicBezTo>
                  <a:cubicBezTo>
                    <a:pt x="84828" y="97754"/>
                    <a:pt x="87858" y="92290"/>
                    <a:pt x="89676" y="86218"/>
                  </a:cubicBezTo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8B60FAF-998A-D442-AE22-453AF7187B35}"/>
                </a:ext>
              </a:extLst>
            </p:cNvPr>
            <p:cNvSpPr/>
            <p:nvPr/>
          </p:nvSpPr>
          <p:spPr>
            <a:xfrm>
              <a:off x="1692887" y="5474639"/>
              <a:ext cx="110276" cy="123255"/>
            </a:xfrm>
            <a:custGeom>
              <a:avLst/>
              <a:gdLst>
                <a:gd name="connsiteX0" fmla="*/ 0 w 110276"/>
                <a:gd name="connsiteY0" fmla="*/ 19429 h 123255"/>
                <a:gd name="connsiteX1" fmla="*/ 0 w 110276"/>
                <a:gd name="connsiteY1" fmla="*/ 0 h 123255"/>
                <a:gd name="connsiteX2" fmla="*/ 110277 w 110276"/>
                <a:gd name="connsiteY2" fmla="*/ 0 h 123255"/>
                <a:gd name="connsiteX3" fmla="*/ 110277 w 110276"/>
                <a:gd name="connsiteY3" fmla="*/ 19429 h 123255"/>
                <a:gd name="connsiteX4" fmla="*/ 65439 w 110276"/>
                <a:gd name="connsiteY4" fmla="*/ 19429 h 123255"/>
                <a:gd name="connsiteX5" fmla="*/ 65439 w 110276"/>
                <a:gd name="connsiteY5" fmla="*/ 123255 h 123255"/>
                <a:gd name="connsiteX6" fmla="*/ 44838 w 110276"/>
                <a:gd name="connsiteY6" fmla="*/ 123255 h 123255"/>
                <a:gd name="connsiteX7" fmla="*/ 44838 w 110276"/>
                <a:gd name="connsiteY7" fmla="*/ 19429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276" h="123255">
                  <a:moveTo>
                    <a:pt x="0" y="19429"/>
                  </a:moveTo>
                  <a:lnTo>
                    <a:pt x="0" y="0"/>
                  </a:lnTo>
                  <a:lnTo>
                    <a:pt x="110277" y="0"/>
                  </a:lnTo>
                  <a:lnTo>
                    <a:pt x="110277" y="19429"/>
                  </a:lnTo>
                  <a:lnTo>
                    <a:pt x="65439" y="19429"/>
                  </a:lnTo>
                  <a:lnTo>
                    <a:pt x="65439" y="123255"/>
                  </a:lnTo>
                  <a:lnTo>
                    <a:pt x="44838" y="123255"/>
                  </a:lnTo>
                  <a:lnTo>
                    <a:pt x="44838" y="19429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3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1828612" y="5472210"/>
              <a:ext cx="236913" cy="128719"/>
              <a:chOff x="1828612" y="5472210"/>
              <a:chExt cx="236913" cy="128719"/>
            </a:xfrm>
            <a:solidFill>
              <a:srgbClr val="CFD4D9"/>
            </a:solidFill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911FBB16-EF5A-FB41-8E03-3086A290846E}"/>
                  </a:ext>
                </a:extLst>
              </p:cNvPr>
              <p:cNvSpPr/>
              <p:nvPr/>
            </p:nvSpPr>
            <p:spPr>
              <a:xfrm>
                <a:off x="1828612" y="5474639"/>
                <a:ext cx="97552" cy="123862"/>
              </a:xfrm>
              <a:custGeom>
                <a:avLst/>
                <a:gdLst>
                  <a:gd name="connsiteX0" fmla="*/ 56350 w 97552"/>
                  <a:gd name="connsiteY0" fmla="*/ 69217 h 123862"/>
                  <a:gd name="connsiteX1" fmla="*/ 19995 w 97552"/>
                  <a:gd name="connsiteY1" fmla="*/ 69217 h 123862"/>
                  <a:gd name="connsiteX2" fmla="*/ 19995 w 97552"/>
                  <a:gd name="connsiteY2" fmla="*/ 105647 h 123862"/>
                  <a:gd name="connsiteX3" fmla="*/ 56350 w 97552"/>
                  <a:gd name="connsiteY3" fmla="*/ 105647 h 123862"/>
                  <a:gd name="connsiteX4" fmla="*/ 73316 w 97552"/>
                  <a:gd name="connsiteY4" fmla="*/ 100790 h 123862"/>
                  <a:gd name="connsiteX5" fmla="*/ 78163 w 97552"/>
                  <a:gd name="connsiteY5" fmla="*/ 87432 h 123862"/>
                  <a:gd name="connsiteX6" fmla="*/ 72710 w 97552"/>
                  <a:gd name="connsiteY6" fmla="*/ 73467 h 123862"/>
                  <a:gd name="connsiteX7" fmla="*/ 56350 w 97552"/>
                  <a:gd name="connsiteY7" fmla="*/ 69217 h 123862"/>
                  <a:gd name="connsiteX8" fmla="*/ 52715 w 97552"/>
                  <a:gd name="connsiteY8" fmla="*/ 17608 h 123862"/>
                  <a:gd name="connsiteX9" fmla="*/ 19995 w 97552"/>
                  <a:gd name="connsiteY9" fmla="*/ 17608 h 123862"/>
                  <a:gd name="connsiteX10" fmla="*/ 19995 w 97552"/>
                  <a:gd name="connsiteY10" fmla="*/ 52216 h 123862"/>
                  <a:gd name="connsiteX11" fmla="*/ 54533 w 97552"/>
                  <a:gd name="connsiteY11" fmla="*/ 52216 h 123862"/>
                  <a:gd name="connsiteX12" fmla="*/ 69680 w 97552"/>
                  <a:gd name="connsiteY12" fmla="*/ 47966 h 123862"/>
                  <a:gd name="connsiteX13" fmla="*/ 74528 w 97552"/>
                  <a:gd name="connsiteY13" fmla="*/ 34609 h 123862"/>
                  <a:gd name="connsiteX14" fmla="*/ 69680 w 97552"/>
                  <a:gd name="connsiteY14" fmla="*/ 21251 h 123862"/>
                  <a:gd name="connsiteX15" fmla="*/ 52715 w 97552"/>
                  <a:gd name="connsiteY15" fmla="*/ 17608 h 123862"/>
                  <a:gd name="connsiteX16" fmla="*/ 0 w 97552"/>
                  <a:gd name="connsiteY16" fmla="*/ 123255 h 123862"/>
                  <a:gd name="connsiteX17" fmla="*/ 0 w 97552"/>
                  <a:gd name="connsiteY17" fmla="*/ 0 h 123862"/>
                  <a:gd name="connsiteX18" fmla="*/ 52715 w 97552"/>
                  <a:gd name="connsiteY18" fmla="*/ 0 h 123862"/>
                  <a:gd name="connsiteX19" fmla="*/ 83616 w 97552"/>
                  <a:gd name="connsiteY19" fmla="*/ 8500 h 123862"/>
                  <a:gd name="connsiteX20" fmla="*/ 94523 w 97552"/>
                  <a:gd name="connsiteY20" fmla="*/ 33394 h 123862"/>
                  <a:gd name="connsiteX21" fmla="*/ 90888 w 97552"/>
                  <a:gd name="connsiteY21" fmla="*/ 47966 h 123862"/>
                  <a:gd name="connsiteX22" fmla="*/ 76951 w 97552"/>
                  <a:gd name="connsiteY22" fmla="*/ 59502 h 123862"/>
                  <a:gd name="connsiteX23" fmla="*/ 92705 w 97552"/>
                  <a:gd name="connsiteY23" fmla="*/ 70432 h 123862"/>
                  <a:gd name="connsiteX24" fmla="*/ 97552 w 97552"/>
                  <a:gd name="connsiteY24" fmla="*/ 88647 h 123862"/>
                  <a:gd name="connsiteX25" fmla="*/ 87858 w 97552"/>
                  <a:gd name="connsiteY25" fmla="*/ 114148 h 123862"/>
                  <a:gd name="connsiteX26" fmla="*/ 56350 w 97552"/>
                  <a:gd name="connsiteY26" fmla="*/ 123862 h 123862"/>
                  <a:gd name="connsiteX27" fmla="*/ 0 w 97552"/>
                  <a:gd name="connsiteY27" fmla="*/ 123862 h 1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7552" h="123862">
                    <a:moveTo>
                      <a:pt x="56350" y="69217"/>
                    </a:moveTo>
                    <a:lnTo>
                      <a:pt x="19995" y="69217"/>
                    </a:lnTo>
                    <a:lnTo>
                      <a:pt x="19995" y="105647"/>
                    </a:lnTo>
                    <a:lnTo>
                      <a:pt x="56350" y="105647"/>
                    </a:lnTo>
                    <a:cubicBezTo>
                      <a:pt x="64227" y="105647"/>
                      <a:pt x="69680" y="103826"/>
                      <a:pt x="73316" y="100790"/>
                    </a:cubicBezTo>
                    <a:cubicBezTo>
                      <a:pt x="76345" y="97754"/>
                      <a:pt x="78163" y="93504"/>
                      <a:pt x="78163" y="87432"/>
                    </a:cubicBezTo>
                    <a:cubicBezTo>
                      <a:pt x="78163" y="80753"/>
                      <a:pt x="76345" y="76503"/>
                      <a:pt x="72710" y="73467"/>
                    </a:cubicBezTo>
                    <a:cubicBezTo>
                      <a:pt x="69680" y="71039"/>
                      <a:pt x="64227" y="69217"/>
                      <a:pt x="56350" y="69217"/>
                    </a:cubicBezTo>
                    <a:moveTo>
                      <a:pt x="52715" y="17608"/>
                    </a:moveTo>
                    <a:lnTo>
                      <a:pt x="19995" y="17608"/>
                    </a:lnTo>
                    <a:lnTo>
                      <a:pt x="19995" y="52216"/>
                    </a:lnTo>
                    <a:lnTo>
                      <a:pt x="54533" y="52216"/>
                    </a:lnTo>
                    <a:cubicBezTo>
                      <a:pt x="61197" y="52216"/>
                      <a:pt x="66651" y="51002"/>
                      <a:pt x="69680" y="47966"/>
                    </a:cubicBezTo>
                    <a:cubicBezTo>
                      <a:pt x="73316" y="44930"/>
                      <a:pt x="74528" y="40680"/>
                      <a:pt x="74528" y="34609"/>
                    </a:cubicBezTo>
                    <a:cubicBezTo>
                      <a:pt x="74528" y="28537"/>
                      <a:pt x="72710" y="24287"/>
                      <a:pt x="69680" y="21251"/>
                    </a:cubicBezTo>
                    <a:cubicBezTo>
                      <a:pt x="67257" y="19429"/>
                      <a:pt x="61197" y="17608"/>
                      <a:pt x="52715" y="17608"/>
                    </a:cubicBezTo>
                    <a:moveTo>
                      <a:pt x="0" y="123255"/>
                    </a:moveTo>
                    <a:lnTo>
                      <a:pt x="0" y="0"/>
                    </a:lnTo>
                    <a:lnTo>
                      <a:pt x="52715" y="0"/>
                    </a:lnTo>
                    <a:cubicBezTo>
                      <a:pt x="66045" y="0"/>
                      <a:pt x="76345" y="3036"/>
                      <a:pt x="83616" y="8500"/>
                    </a:cubicBezTo>
                    <a:cubicBezTo>
                      <a:pt x="90888" y="13965"/>
                      <a:pt x="94523" y="22465"/>
                      <a:pt x="94523" y="33394"/>
                    </a:cubicBezTo>
                    <a:cubicBezTo>
                      <a:pt x="94523" y="38252"/>
                      <a:pt x="93311" y="43109"/>
                      <a:pt x="90888" y="47966"/>
                    </a:cubicBezTo>
                    <a:cubicBezTo>
                      <a:pt x="88464" y="52824"/>
                      <a:pt x="84222" y="57074"/>
                      <a:pt x="76951" y="59502"/>
                    </a:cubicBezTo>
                    <a:cubicBezTo>
                      <a:pt x="84222" y="61931"/>
                      <a:pt x="89676" y="65574"/>
                      <a:pt x="92705" y="70432"/>
                    </a:cubicBezTo>
                    <a:cubicBezTo>
                      <a:pt x="95735" y="75289"/>
                      <a:pt x="97552" y="81361"/>
                      <a:pt x="97552" y="88647"/>
                    </a:cubicBezTo>
                    <a:cubicBezTo>
                      <a:pt x="97552" y="98968"/>
                      <a:pt x="94523" y="107469"/>
                      <a:pt x="87858" y="114148"/>
                    </a:cubicBezTo>
                    <a:cubicBezTo>
                      <a:pt x="81193" y="120219"/>
                      <a:pt x="70892" y="123862"/>
                      <a:pt x="56350" y="123862"/>
                    </a:cubicBezTo>
                    <a:lnTo>
                      <a:pt x="0" y="123862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626244B5-8B67-EA45-93EB-FAC2151D4D70}"/>
                  </a:ext>
                </a:extLst>
              </p:cNvPr>
              <p:cNvSpPr/>
              <p:nvPr/>
            </p:nvSpPr>
            <p:spPr>
              <a:xfrm>
                <a:off x="1949795" y="5472210"/>
                <a:ext cx="115729" cy="128719"/>
              </a:xfrm>
              <a:custGeom>
                <a:avLst/>
                <a:gdLst>
                  <a:gd name="connsiteX0" fmla="*/ 58774 w 115729"/>
                  <a:gd name="connsiteY0" fmla="*/ 109898 h 128719"/>
                  <a:gd name="connsiteX1" fmla="*/ 86646 w 115729"/>
                  <a:gd name="connsiteY1" fmla="*/ 97754 h 128719"/>
                  <a:gd name="connsiteX2" fmla="*/ 95735 w 115729"/>
                  <a:gd name="connsiteY2" fmla="*/ 63753 h 128719"/>
                  <a:gd name="connsiteX3" fmla="*/ 86646 w 115729"/>
                  <a:gd name="connsiteY3" fmla="*/ 29751 h 128719"/>
                  <a:gd name="connsiteX4" fmla="*/ 58774 w 115729"/>
                  <a:gd name="connsiteY4" fmla="*/ 17608 h 128719"/>
                  <a:gd name="connsiteX5" fmla="*/ 30902 w 115729"/>
                  <a:gd name="connsiteY5" fmla="*/ 29751 h 128719"/>
                  <a:gd name="connsiteX6" fmla="*/ 21207 w 115729"/>
                  <a:gd name="connsiteY6" fmla="*/ 63753 h 128719"/>
                  <a:gd name="connsiteX7" fmla="*/ 31508 w 115729"/>
                  <a:gd name="connsiteY7" fmla="*/ 97754 h 128719"/>
                  <a:gd name="connsiteX8" fmla="*/ 58774 w 115729"/>
                  <a:gd name="connsiteY8" fmla="*/ 109898 h 128719"/>
                  <a:gd name="connsiteX9" fmla="*/ 58774 w 115729"/>
                  <a:gd name="connsiteY9" fmla="*/ 128720 h 128719"/>
                  <a:gd name="connsiteX10" fmla="*/ 35143 w 115729"/>
                  <a:gd name="connsiteY10" fmla="*/ 124470 h 128719"/>
                  <a:gd name="connsiteX11" fmla="*/ 16360 w 115729"/>
                  <a:gd name="connsiteY11" fmla="*/ 112326 h 128719"/>
                  <a:gd name="connsiteX12" fmla="*/ 4241 w 115729"/>
                  <a:gd name="connsiteY12" fmla="*/ 91683 h 128719"/>
                  <a:gd name="connsiteX13" fmla="*/ 0 w 115729"/>
                  <a:gd name="connsiteY13" fmla="*/ 64360 h 128719"/>
                  <a:gd name="connsiteX14" fmla="*/ 16360 w 115729"/>
                  <a:gd name="connsiteY14" fmla="*/ 17001 h 128719"/>
                  <a:gd name="connsiteX15" fmla="*/ 58774 w 115729"/>
                  <a:gd name="connsiteY15" fmla="*/ 0 h 128719"/>
                  <a:gd name="connsiteX16" fmla="*/ 99976 w 115729"/>
                  <a:gd name="connsiteY16" fmla="*/ 17001 h 128719"/>
                  <a:gd name="connsiteX17" fmla="*/ 115730 w 115729"/>
                  <a:gd name="connsiteY17" fmla="*/ 64360 h 128719"/>
                  <a:gd name="connsiteX18" fmla="*/ 99976 w 115729"/>
                  <a:gd name="connsiteY18" fmla="*/ 111719 h 128719"/>
                  <a:gd name="connsiteX19" fmla="*/ 58774 w 115729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29" h="128719">
                    <a:moveTo>
                      <a:pt x="58774" y="109898"/>
                    </a:moveTo>
                    <a:cubicBezTo>
                      <a:pt x="70892" y="109898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5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2" y="89254"/>
                      <a:pt x="31508" y="97754"/>
                    </a:cubicBezTo>
                    <a:cubicBezTo>
                      <a:pt x="37567" y="106255"/>
                      <a:pt x="46655" y="109898"/>
                      <a:pt x="58774" y="109898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3"/>
                    </a:cubicBezTo>
                    <a:cubicBezTo>
                      <a:pt x="1212" y="83789"/>
                      <a:pt x="0" y="74682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5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070" y="122648"/>
                      <a:pt x="75740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97DB53A-131F-8C49-BE87-A3BA6189EB68}"/>
                </a:ext>
              </a:extLst>
            </p:cNvPr>
            <p:cNvSpPr/>
            <p:nvPr/>
          </p:nvSpPr>
          <p:spPr>
            <a:xfrm>
              <a:off x="368960" y="5739365"/>
              <a:ext cx="103611" cy="123255"/>
            </a:xfrm>
            <a:custGeom>
              <a:avLst/>
              <a:gdLst>
                <a:gd name="connsiteX0" fmla="*/ 0 w 103611"/>
                <a:gd name="connsiteY0" fmla="*/ 123255 h 123255"/>
                <a:gd name="connsiteX1" fmla="*/ 0 w 103611"/>
                <a:gd name="connsiteY1" fmla="*/ 0 h 123255"/>
                <a:gd name="connsiteX2" fmla="*/ 103612 w 103611"/>
                <a:gd name="connsiteY2" fmla="*/ 0 h 123255"/>
                <a:gd name="connsiteX3" fmla="*/ 103612 w 103611"/>
                <a:gd name="connsiteY3" fmla="*/ 123255 h 123255"/>
                <a:gd name="connsiteX4" fmla="*/ 83011 w 103611"/>
                <a:gd name="connsiteY4" fmla="*/ 123255 h 123255"/>
                <a:gd name="connsiteX5" fmla="*/ 83011 w 103611"/>
                <a:gd name="connsiteY5" fmla="*/ 19429 h 123255"/>
                <a:gd name="connsiteX6" fmla="*/ 19995 w 103611"/>
                <a:gd name="connsiteY6" fmla="*/ 19429 h 123255"/>
                <a:gd name="connsiteX7" fmla="*/ 19995 w 103611"/>
                <a:gd name="connsiteY7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11" h="123255">
                  <a:moveTo>
                    <a:pt x="0" y="123255"/>
                  </a:moveTo>
                  <a:lnTo>
                    <a:pt x="0" y="0"/>
                  </a:lnTo>
                  <a:lnTo>
                    <a:pt x="103612" y="0"/>
                  </a:lnTo>
                  <a:lnTo>
                    <a:pt x="103612" y="123255"/>
                  </a:lnTo>
                  <a:lnTo>
                    <a:pt x="83011" y="123255"/>
                  </a:lnTo>
                  <a:lnTo>
                    <a:pt x="83011" y="19429"/>
                  </a:lnTo>
                  <a:lnTo>
                    <a:pt x="19995" y="19429"/>
                  </a:lnTo>
                  <a:lnTo>
                    <a:pt x="19995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7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510744" y="5736329"/>
              <a:ext cx="528358" cy="176686"/>
              <a:chOff x="510744" y="5736329"/>
              <a:chExt cx="528358" cy="176686"/>
            </a:xfrm>
            <a:solidFill>
              <a:srgbClr val="CFD4D9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A249D0CB-EE4B-3E45-8696-08D1A154EDB4}"/>
                  </a:ext>
                </a:extLst>
              </p:cNvPr>
              <p:cNvSpPr/>
              <p:nvPr/>
            </p:nvSpPr>
            <p:spPr>
              <a:xfrm>
                <a:off x="510744" y="5736329"/>
                <a:ext cx="116335" cy="176686"/>
              </a:xfrm>
              <a:custGeom>
                <a:avLst/>
                <a:gdLst>
                  <a:gd name="connsiteX0" fmla="*/ 20601 w 116335"/>
                  <a:gd name="connsiteY0" fmla="*/ 74682 h 176686"/>
                  <a:gd name="connsiteX1" fmla="*/ 32114 w 116335"/>
                  <a:gd name="connsiteY1" fmla="*/ 100790 h 176686"/>
                  <a:gd name="connsiteX2" fmla="*/ 59380 w 116335"/>
                  <a:gd name="connsiteY2" fmla="*/ 110505 h 176686"/>
                  <a:gd name="connsiteX3" fmla="*/ 86040 w 116335"/>
                  <a:gd name="connsiteY3" fmla="*/ 97754 h 176686"/>
                  <a:gd name="connsiteX4" fmla="*/ 95735 w 116335"/>
                  <a:gd name="connsiteY4" fmla="*/ 63753 h 176686"/>
                  <a:gd name="connsiteX5" fmla="*/ 86040 w 116335"/>
                  <a:gd name="connsiteY5" fmla="*/ 30966 h 176686"/>
                  <a:gd name="connsiteX6" fmla="*/ 58774 w 116335"/>
                  <a:gd name="connsiteY6" fmla="*/ 18215 h 176686"/>
                  <a:gd name="connsiteX7" fmla="*/ 44838 w 116335"/>
                  <a:gd name="connsiteY7" fmla="*/ 20644 h 176686"/>
                  <a:gd name="connsiteX8" fmla="*/ 32719 w 116335"/>
                  <a:gd name="connsiteY8" fmla="*/ 28537 h 176686"/>
                  <a:gd name="connsiteX9" fmla="*/ 24237 w 116335"/>
                  <a:gd name="connsiteY9" fmla="*/ 41287 h 176686"/>
                  <a:gd name="connsiteX10" fmla="*/ 21207 w 116335"/>
                  <a:gd name="connsiteY10" fmla="*/ 58895 h 176686"/>
                  <a:gd name="connsiteX11" fmla="*/ 21207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20601" y="74682"/>
                    </a:moveTo>
                    <a:cubicBezTo>
                      <a:pt x="20601" y="86218"/>
                      <a:pt x="24237" y="94718"/>
                      <a:pt x="32114" y="100790"/>
                    </a:cubicBezTo>
                    <a:cubicBezTo>
                      <a:pt x="39990" y="106862"/>
                      <a:pt x="49079" y="110505"/>
                      <a:pt x="59380" y="110505"/>
                    </a:cubicBezTo>
                    <a:cubicBezTo>
                      <a:pt x="70892" y="110505"/>
                      <a:pt x="79375" y="106255"/>
                      <a:pt x="86040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50395"/>
                      <a:pt x="92705" y="39466"/>
                      <a:pt x="86040" y="30966"/>
                    </a:cubicBezTo>
                    <a:cubicBezTo>
                      <a:pt x="79375" y="22465"/>
                      <a:pt x="70286" y="18215"/>
                      <a:pt x="58774" y="18215"/>
                    </a:cubicBezTo>
                    <a:cubicBezTo>
                      <a:pt x="53927" y="18215"/>
                      <a:pt x="49079" y="18822"/>
                      <a:pt x="44838" y="20644"/>
                    </a:cubicBezTo>
                    <a:cubicBezTo>
                      <a:pt x="40596" y="22465"/>
                      <a:pt x="36355" y="24894"/>
                      <a:pt x="32719" y="28537"/>
                    </a:cubicBezTo>
                    <a:cubicBezTo>
                      <a:pt x="29084" y="32180"/>
                      <a:pt x="26054" y="36430"/>
                      <a:pt x="24237" y="41287"/>
                    </a:cubicBezTo>
                    <a:cubicBezTo>
                      <a:pt x="21813" y="46752"/>
                      <a:pt x="21207" y="52217"/>
                      <a:pt x="21207" y="58895"/>
                    </a:cubicBezTo>
                    <a:lnTo>
                      <a:pt x="21207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2751"/>
                      <a:pt x="30902" y="8500"/>
                      <a:pt x="38779" y="4857"/>
                    </a:cubicBezTo>
                    <a:cubicBezTo>
                      <a:pt x="46050" y="1822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1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1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A0238FBC-0874-684E-AFE4-D967BC9CEF5B}"/>
                  </a:ext>
                </a:extLst>
              </p:cNvPr>
              <p:cNvSpPr/>
              <p:nvPr/>
            </p:nvSpPr>
            <p:spPr>
              <a:xfrm>
                <a:off x="650711" y="5736936"/>
                <a:ext cx="115730" cy="128719"/>
              </a:xfrm>
              <a:custGeom>
                <a:avLst/>
                <a:gdLst>
                  <a:gd name="connsiteX0" fmla="*/ 58774 w 115730"/>
                  <a:gd name="connsiteY0" fmla="*/ 109897 h 128719"/>
                  <a:gd name="connsiteX1" fmla="*/ 86646 w 115730"/>
                  <a:gd name="connsiteY1" fmla="*/ 97754 h 128719"/>
                  <a:gd name="connsiteX2" fmla="*/ 95735 w 115730"/>
                  <a:gd name="connsiteY2" fmla="*/ 63753 h 128719"/>
                  <a:gd name="connsiteX3" fmla="*/ 86646 w 115730"/>
                  <a:gd name="connsiteY3" fmla="*/ 29751 h 128719"/>
                  <a:gd name="connsiteX4" fmla="*/ 58774 w 115730"/>
                  <a:gd name="connsiteY4" fmla="*/ 17608 h 128719"/>
                  <a:gd name="connsiteX5" fmla="*/ 30902 w 115730"/>
                  <a:gd name="connsiteY5" fmla="*/ 29751 h 128719"/>
                  <a:gd name="connsiteX6" fmla="*/ 21207 w 115730"/>
                  <a:gd name="connsiteY6" fmla="*/ 63753 h 128719"/>
                  <a:gd name="connsiteX7" fmla="*/ 31508 w 115730"/>
                  <a:gd name="connsiteY7" fmla="*/ 97754 h 128719"/>
                  <a:gd name="connsiteX8" fmla="*/ 58774 w 115730"/>
                  <a:gd name="connsiteY8" fmla="*/ 109897 h 128719"/>
                  <a:gd name="connsiteX9" fmla="*/ 58774 w 115730"/>
                  <a:gd name="connsiteY9" fmla="*/ 128720 h 128719"/>
                  <a:gd name="connsiteX10" fmla="*/ 35143 w 115730"/>
                  <a:gd name="connsiteY10" fmla="*/ 124470 h 128719"/>
                  <a:gd name="connsiteX11" fmla="*/ 16360 w 115730"/>
                  <a:gd name="connsiteY11" fmla="*/ 112326 h 128719"/>
                  <a:gd name="connsiteX12" fmla="*/ 4241 w 115730"/>
                  <a:gd name="connsiteY12" fmla="*/ 91682 h 128719"/>
                  <a:gd name="connsiteX13" fmla="*/ 0 w 115730"/>
                  <a:gd name="connsiteY13" fmla="*/ 64360 h 128719"/>
                  <a:gd name="connsiteX14" fmla="*/ 16360 w 115730"/>
                  <a:gd name="connsiteY14" fmla="*/ 17001 h 128719"/>
                  <a:gd name="connsiteX15" fmla="*/ 58774 w 115730"/>
                  <a:gd name="connsiteY15" fmla="*/ 0 h 128719"/>
                  <a:gd name="connsiteX16" fmla="*/ 99976 w 115730"/>
                  <a:gd name="connsiteY16" fmla="*/ 17001 h 128719"/>
                  <a:gd name="connsiteX17" fmla="*/ 115730 w 115730"/>
                  <a:gd name="connsiteY17" fmla="*/ 64360 h 128719"/>
                  <a:gd name="connsiteX18" fmla="*/ 99976 w 115730"/>
                  <a:gd name="connsiteY18" fmla="*/ 111719 h 128719"/>
                  <a:gd name="connsiteX19" fmla="*/ 58774 w 115730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30" h="128719">
                    <a:moveTo>
                      <a:pt x="58774" y="109897"/>
                    </a:moveTo>
                    <a:cubicBezTo>
                      <a:pt x="70892" y="109897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6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3" y="89254"/>
                      <a:pt x="31508" y="97754"/>
                    </a:cubicBezTo>
                    <a:cubicBezTo>
                      <a:pt x="37567" y="106255"/>
                      <a:pt x="47261" y="109897"/>
                      <a:pt x="58774" y="109897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2"/>
                    </a:cubicBezTo>
                    <a:cubicBezTo>
                      <a:pt x="1212" y="83789"/>
                      <a:pt x="0" y="74075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4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676" y="122648"/>
                      <a:pt x="75740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556FAA1-642F-2748-B827-7206E707245F}"/>
                  </a:ext>
                </a:extLst>
              </p:cNvPr>
              <p:cNvSpPr/>
              <p:nvPr/>
            </p:nvSpPr>
            <p:spPr>
              <a:xfrm>
                <a:off x="777347" y="5739365"/>
                <a:ext cx="136331" cy="158471"/>
              </a:xfrm>
              <a:custGeom>
                <a:avLst/>
                <a:gdLst>
                  <a:gd name="connsiteX0" fmla="*/ 47867 w 136331"/>
                  <a:gd name="connsiteY0" fmla="*/ 71039 h 158471"/>
                  <a:gd name="connsiteX1" fmla="*/ 43626 w 136331"/>
                  <a:gd name="connsiteY1" fmla="*/ 89861 h 158471"/>
                  <a:gd name="connsiteX2" fmla="*/ 36355 w 136331"/>
                  <a:gd name="connsiteY2" fmla="*/ 103826 h 158471"/>
                  <a:gd name="connsiteX3" fmla="*/ 96341 w 136331"/>
                  <a:gd name="connsiteY3" fmla="*/ 103826 h 158471"/>
                  <a:gd name="connsiteX4" fmla="*/ 96341 w 136331"/>
                  <a:gd name="connsiteY4" fmla="*/ 18822 h 158471"/>
                  <a:gd name="connsiteX5" fmla="*/ 49685 w 136331"/>
                  <a:gd name="connsiteY5" fmla="*/ 18822 h 158471"/>
                  <a:gd name="connsiteX6" fmla="*/ 49685 w 136331"/>
                  <a:gd name="connsiteY6" fmla="*/ 49788 h 158471"/>
                  <a:gd name="connsiteX7" fmla="*/ 47867 w 136331"/>
                  <a:gd name="connsiteY7" fmla="*/ 71039 h 158471"/>
                  <a:gd name="connsiteX8" fmla="*/ 0 w 136331"/>
                  <a:gd name="connsiteY8" fmla="*/ 104433 h 158471"/>
                  <a:gd name="connsiteX9" fmla="*/ 12724 w 136331"/>
                  <a:gd name="connsiteY9" fmla="*/ 104433 h 158471"/>
                  <a:gd name="connsiteX10" fmla="*/ 23631 w 136331"/>
                  <a:gd name="connsiteY10" fmla="*/ 89254 h 158471"/>
                  <a:gd name="connsiteX11" fmla="*/ 28478 w 136331"/>
                  <a:gd name="connsiteY11" fmla="*/ 68610 h 158471"/>
                  <a:gd name="connsiteX12" fmla="*/ 29084 w 136331"/>
                  <a:gd name="connsiteY12" fmla="*/ 58895 h 158471"/>
                  <a:gd name="connsiteX13" fmla="*/ 29690 w 136331"/>
                  <a:gd name="connsiteY13" fmla="*/ 45538 h 158471"/>
                  <a:gd name="connsiteX14" fmla="*/ 29690 w 136331"/>
                  <a:gd name="connsiteY14" fmla="*/ 26715 h 158471"/>
                  <a:gd name="connsiteX15" fmla="*/ 29690 w 136331"/>
                  <a:gd name="connsiteY15" fmla="*/ 0 h 158471"/>
                  <a:gd name="connsiteX16" fmla="*/ 116336 w 136331"/>
                  <a:gd name="connsiteY16" fmla="*/ 0 h 158471"/>
                  <a:gd name="connsiteX17" fmla="*/ 116336 w 136331"/>
                  <a:gd name="connsiteY17" fmla="*/ 104433 h 158471"/>
                  <a:gd name="connsiteX18" fmla="*/ 136331 w 136331"/>
                  <a:gd name="connsiteY18" fmla="*/ 104433 h 158471"/>
                  <a:gd name="connsiteX19" fmla="*/ 136331 w 136331"/>
                  <a:gd name="connsiteY19" fmla="*/ 158471 h 158471"/>
                  <a:gd name="connsiteX20" fmla="*/ 116336 w 136331"/>
                  <a:gd name="connsiteY20" fmla="*/ 158471 h 158471"/>
                  <a:gd name="connsiteX21" fmla="*/ 116336 w 136331"/>
                  <a:gd name="connsiteY21" fmla="*/ 123862 h 158471"/>
                  <a:gd name="connsiteX22" fmla="*/ 19995 w 136331"/>
                  <a:gd name="connsiteY22" fmla="*/ 123862 h 158471"/>
                  <a:gd name="connsiteX23" fmla="*/ 19995 w 136331"/>
                  <a:gd name="connsiteY23" fmla="*/ 158471 h 158471"/>
                  <a:gd name="connsiteX24" fmla="*/ 0 w 136331"/>
                  <a:gd name="connsiteY24" fmla="*/ 158471 h 158471"/>
                  <a:gd name="connsiteX25" fmla="*/ 0 w 136331"/>
                  <a:gd name="connsiteY25" fmla="*/ 104433 h 15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6331" h="158471">
                    <a:moveTo>
                      <a:pt x="47867" y="71039"/>
                    </a:moveTo>
                    <a:cubicBezTo>
                      <a:pt x="47261" y="78325"/>
                      <a:pt x="45444" y="84396"/>
                      <a:pt x="43626" y="89861"/>
                    </a:cubicBezTo>
                    <a:cubicBezTo>
                      <a:pt x="41202" y="95325"/>
                      <a:pt x="38779" y="100183"/>
                      <a:pt x="36355" y="103826"/>
                    </a:cubicBezTo>
                    <a:lnTo>
                      <a:pt x="96341" y="103826"/>
                    </a:lnTo>
                    <a:lnTo>
                      <a:pt x="96341" y="18822"/>
                    </a:lnTo>
                    <a:lnTo>
                      <a:pt x="49685" y="18822"/>
                    </a:lnTo>
                    <a:cubicBezTo>
                      <a:pt x="49685" y="30966"/>
                      <a:pt x="49685" y="41287"/>
                      <a:pt x="49685" y="49788"/>
                    </a:cubicBezTo>
                    <a:cubicBezTo>
                      <a:pt x="48473" y="59503"/>
                      <a:pt x="48473" y="66181"/>
                      <a:pt x="47867" y="71039"/>
                    </a:cubicBezTo>
                    <a:moveTo>
                      <a:pt x="0" y="104433"/>
                    </a:moveTo>
                    <a:lnTo>
                      <a:pt x="12724" y="104433"/>
                    </a:lnTo>
                    <a:cubicBezTo>
                      <a:pt x="16966" y="100790"/>
                      <a:pt x="20601" y="95933"/>
                      <a:pt x="23631" y="89254"/>
                    </a:cubicBezTo>
                    <a:cubicBezTo>
                      <a:pt x="26660" y="82575"/>
                      <a:pt x="28478" y="75896"/>
                      <a:pt x="28478" y="68610"/>
                    </a:cubicBezTo>
                    <a:cubicBezTo>
                      <a:pt x="28478" y="65574"/>
                      <a:pt x="29084" y="62538"/>
                      <a:pt x="29084" y="58895"/>
                    </a:cubicBezTo>
                    <a:cubicBezTo>
                      <a:pt x="29084" y="55252"/>
                      <a:pt x="29084" y="51002"/>
                      <a:pt x="29690" y="45538"/>
                    </a:cubicBezTo>
                    <a:cubicBezTo>
                      <a:pt x="29690" y="40073"/>
                      <a:pt x="29690" y="34001"/>
                      <a:pt x="29690" y="26715"/>
                    </a:cubicBezTo>
                    <a:cubicBezTo>
                      <a:pt x="29690" y="19429"/>
                      <a:pt x="29690" y="10322"/>
                      <a:pt x="29690" y="0"/>
                    </a:cubicBezTo>
                    <a:lnTo>
                      <a:pt x="116336" y="0"/>
                    </a:lnTo>
                    <a:lnTo>
                      <a:pt x="116336" y="104433"/>
                    </a:lnTo>
                    <a:lnTo>
                      <a:pt x="136331" y="104433"/>
                    </a:lnTo>
                    <a:lnTo>
                      <a:pt x="136331" y="158471"/>
                    </a:lnTo>
                    <a:lnTo>
                      <a:pt x="116336" y="158471"/>
                    </a:lnTo>
                    <a:lnTo>
                      <a:pt x="116336" y="123862"/>
                    </a:lnTo>
                    <a:lnTo>
                      <a:pt x="19995" y="123862"/>
                    </a:lnTo>
                    <a:lnTo>
                      <a:pt x="19995" y="158471"/>
                    </a:lnTo>
                    <a:lnTo>
                      <a:pt x="0" y="158471"/>
                    </a:lnTo>
                    <a:lnTo>
                      <a:pt x="0" y="104433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CBF366C2-5026-274D-BB00-A1AF7BE53D59}"/>
                  </a:ext>
                </a:extLst>
              </p:cNvPr>
              <p:cNvSpPr/>
              <p:nvPr/>
            </p:nvSpPr>
            <p:spPr>
              <a:xfrm>
                <a:off x="919738" y="5739365"/>
                <a:ext cx="119365" cy="173650"/>
              </a:xfrm>
              <a:custGeom>
                <a:avLst/>
                <a:gdLst>
                  <a:gd name="connsiteX0" fmla="*/ 63621 w 119365"/>
                  <a:gd name="connsiteY0" fmla="*/ 142685 h 173650"/>
                  <a:gd name="connsiteX1" fmla="*/ 47261 w 119365"/>
                  <a:gd name="connsiteY1" fmla="*/ 166971 h 173650"/>
                  <a:gd name="connsiteX2" fmla="*/ 24237 w 119365"/>
                  <a:gd name="connsiteY2" fmla="*/ 173650 h 173650"/>
                  <a:gd name="connsiteX3" fmla="*/ 12724 w 119365"/>
                  <a:gd name="connsiteY3" fmla="*/ 173650 h 173650"/>
                  <a:gd name="connsiteX4" fmla="*/ 12724 w 119365"/>
                  <a:gd name="connsiteY4" fmla="*/ 154221 h 173650"/>
                  <a:gd name="connsiteX5" fmla="*/ 20601 w 119365"/>
                  <a:gd name="connsiteY5" fmla="*/ 154221 h 173650"/>
                  <a:gd name="connsiteX6" fmla="*/ 35749 w 119365"/>
                  <a:gd name="connsiteY6" fmla="*/ 150578 h 173650"/>
                  <a:gd name="connsiteX7" fmla="*/ 46050 w 119365"/>
                  <a:gd name="connsiteY7" fmla="*/ 136006 h 173650"/>
                  <a:gd name="connsiteX8" fmla="*/ 51503 w 119365"/>
                  <a:gd name="connsiteY8" fmla="*/ 122648 h 173650"/>
                  <a:gd name="connsiteX9" fmla="*/ 0 w 119365"/>
                  <a:gd name="connsiteY9" fmla="*/ 0 h 173650"/>
                  <a:gd name="connsiteX10" fmla="*/ 22419 w 119365"/>
                  <a:gd name="connsiteY10" fmla="*/ 0 h 173650"/>
                  <a:gd name="connsiteX11" fmla="*/ 62409 w 119365"/>
                  <a:gd name="connsiteY11" fmla="*/ 97754 h 173650"/>
                  <a:gd name="connsiteX12" fmla="*/ 98158 w 119365"/>
                  <a:gd name="connsiteY12" fmla="*/ 0 h 173650"/>
                  <a:gd name="connsiteX13" fmla="*/ 119366 w 119365"/>
                  <a:gd name="connsiteY13" fmla="*/ 0 h 173650"/>
                  <a:gd name="connsiteX14" fmla="*/ 63621 w 119365"/>
                  <a:gd name="connsiteY14" fmla="*/ 142685 h 17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9365" h="173650">
                    <a:moveTo>
                      <a:pt x="63621" y="142685"/>
                    </a:moveTo>
                    <a:cubicBezTo>
                      <a:pt x="58774" y="154221"/>
                      <a:pt x="53927" y="162721"/>
                      <a:pt x="47261" y="166971"/>
                    </a:cubicBezTo>
                    <a:cubicBezTo>
                      <a:pt x="41202" y="171829"/>
                      <a:pt x="33325" y="173650"/>
                      <a:pt x="24237" y="173650"/>
                    </a:cubicBezTo>
                    <a:lnTo>
                      <a:pt x="12724" y="173650"/>
                    </a:lnTo>
                    <a:lnTo>
                      <a:pt x="12724" y="154221"/>
                    </a:lnTo>
                    <a:lnTo>
                      <a:pt x="20601" y="154221"/>
                    </a:lnTo>
                    <a:cubicBezTo>
                      <a:pt x="26660" y="154221"/>
                      <a:pt x="31508" y="153006"/>
                      <a:pt x="35749" y="150578"/>
                    </a:cubicBezTo>
                    <a:cubicBezTo>
                      <a:pt x="39991" y="148149"/>
                      <a:pt x="43626" y="143292"/>
                      <a:pt x="46050" y="136006"/>
                    </a:cubicBezTo>
                    <a:lnTo>
                      <a:pt x="51503" y="122648"/>
                    </a:lnTo>
                    <a:lnTo>
                      <a:pt x="0" y="0"/>
                    </a:lnTo>
                    <a:lnTo>
                      <a:pt x="22419" y="0"/>
                    </a:lnTo>
                    <a:lnTo>
                      <a:pt x="62409" y="97754"/>
                    </a:lnTo>
                    <a:lnTo>
                      <a:pt x="98158" y="0"/>
                    </a:lnTo>
                    <a:lnTo>
                      <a:pt x="119366" y="0"/>
                    </a:lnTo>
                    <a:lnTo>
                      <a:pt x="63621" y="142685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9747A05-B75D-0740-8253-04BC786E7B96}"/>
                </a:ext>
              </a:extLst>
            </p:cNvPr>
            <p:cNvSpPr/>
            <p:nvPr/>
          </p:nvSpPr>
          <p:spPr>
            <a:xfrm>
              <a:off x="1060310" y="5739365"/>
              <a:ext cx="142390" cy="123255"/>
            </a:xfrm>
            <a:custGeom>
              <a:avLst/>
              <a:gdLst>
                <a:gd name="connsiteX0" fmla="*/ 0 w 142390"/>
                <a:gd name="connsiteY0" fmla="*/ 123255 h 123255"/>
                <a:gd name="connsiteX1" fmla="*/ 0 w 142390"/>
                <a:gd name="connsiteY1" fmla="*/ 0 h 123255"/>
                <a:gd name="connsiteX2" fmla="*/ 30296 w 142390"/>
                <a:gd name="connsiteY2" fmla="*/ 0 h 123255"/>
                <a:gd name="connsiteX3" fmla="*/ 71498 w 142390"/>
                <a:gd name="connsiteY3" fmla="*/ 103219 h 123255"/>
                <a:gd name="connsiteX4" fmla="*/ 113306 w 142390"/>
                <a:gd name="connsiteY4" fmla="*/ 0 h 123255"/>
                <a:gd name="connsiteX5" fmla="*/ 142390 w 142390"/>
                <a:gd name="connsiteY5" fmla="*/ 0 h 123255"/>
                <a:gd name="connsiteX6" fmla="*/ 142390 w 142390"/>
                <a:gd name="connsiteY6" fmla="*/ 123255 h 123255"/>
                <a:gd name="connsiteX7" fmla="*/ 122395 w 142390"/>
                <a:gd name="connsiteY7" fmla="*/ 123255 h 123255"/>
                <a:gd name="connsiteX8" fmla="*/ 122395 w 142390"/>
                <a:gd name="connsiteY8" fmla="*/ 22465 h 123255"/>
                <a:gd name="connsiteX9" fmla="*/ 81193 w 142390"/>
                <a:gd name="connsiteY9" fmla="*/ 123255 h 123255"/>
                <a:gd name="connsiteX10" fmla="*/ 59986 w 142390"/>
                <a:gd name="connsiteY10" fmla="*/ 123255 h 123255"/>
                <a:gd name="connsiteX11" fmla="*/ 18783 w 142390"/>
                <a:gd name="connsiteY11" fmla="*/ 22465 h 123255"/>
                <a:gd name="connsiteX12" fmla="*/ 18783 w 142390"/>
                <a:gd name="connsiteY12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390" h="123255">
                  <a:moveTo>
                    <a:pt x="0" y="123255"/>
                  </a:moveTo>
                  <a:lnTo>
                    <a:pt x="0" y="0"/>
                  </a:lnTo>
                  <a:lnTo>
                    <a:pt x="30296" y="0"/>
                  </a:lnTo>
                  <a:lnTo>
                    <a:pt x="71498" y="103219"/>
                  </a:lnTo>
                  <a:lnTo>
                    <a:pt x="113306" y="0"/>
                  </a:lnTo>
                  <a:lnTo>
                    <a:pt x="142390" y="0"/>
                  </a:lnTo>
                  <a:lnTo>
                    <a:pt x="142390" y="123255"/>
                  </a:lnTo>
                  <a:lnTo>
                    <a:pt x="122395" y="123255"/>
                  </a:lnTo>
                  <a:lnTo>
                    <a:pt x="122395" y="22465"/>
                  </a:lnTo>
                  <a:lnTo>
                    <a:pt x="81193" y="123255"/>
                  </a:lnTo>
                  <a:lnTo>
                    <a:pt x="59986" y="123255"/>
                  </a:lnTo>
                  <a:lnTo>
                    <a:pt x="18783" y="22465"/>
                  </a:lnTo>
                  <a:lnTo>
                    <a:pt x="18783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2EE0B4E-9BA3-DD48-97DB-A444742C390B}"/>
                </a:ext>
              </a:extLst>
            </p:cNvPr>
            <p:cNvSpPr/>
            <p:nvPr/>
          </p:nvSpPr>
          <p:spPr>
            <a:xfrm>
              <a:off x="1235420" y="5736936"/>
              <a:ext cx="100582" cy="128112"/>
            </a:xfrm>
            <a:custGeom>
              <a:avLst/>
              <a:gdLst>
                <a:gd name="connsiteX0" fmla="*/ 80587 w 100582"/>
                <a:gd name="connsiteY0" fmla="*/ 71039 h 128112"/>
                <a:gd name="connsiteX1" fmla="*/ 64227 w 100582"/>
                <a:gd name="connsiteY1" fmla="*/ 71039 h 128112"/>
                <a:gd name="connsiteX2" fmla="*/ 46656 w 100582"/>
                <a:gd name="connsiteY2" fmla="*/ 71039 h 128112"/>
                <a:gd name="connsiteX3" fmla="*/ 27266 w 100582"/>
                <a:gd name="connsiteY3" fmla="*/ 76503 h 128112"/>
                <a:gd name="connsiteX4" fmla="*/ 20601 w 100582"/>
                <a:gd name="connsiteY4" fmla="*/ 91075 h 128112"/>
                <a:gd name="connsiteX5" fmla="*/ 26660 w 100582"/>
                <a:gd name="connsiteY5" fmla="*/ 105040 h 128112"/>
                <a:gd name="connsiteX6" fmla="*/ 43626 w 100582"/>
                <a:gd name="connsiteY6" fmla="*/ 110505 h 128112"/>
                <a:gd name="connsiteX7" fmla="*/ 69680 w 100582"/>
                <a:gd name="connsiteY7" fmla="*/ 102611 h 128112"/>
                <a:gd name="connsiteX8" fmla="*/ 80587 w 100582"/>
                <a:gd name="connsiteY8" fmla="*/ 82575 h 128112"/>
                <a:gd name="connsiteX9" fmla="*/ 80587 w 100582"/>
                <a:gd name="connsiteY9" fmla="*/ 71039 h 128112"/>
                <a:gd name="connsiteX10" fmla="*/ 81799 w 100582"/>
                <a:gd name="connsiteY10" fmla="*/ 125684 h 128112"/>
                <a:gd name="connsiteX11" fmla="*/ 81799 w 100582"/>
                <a:gd name="connsiteY11" fmla="*/ 111112 h 128112"/>
                <a:gd name="connsiteX12" fmla="*/ 66045 w 100582"/>
                <a:gd name="connsiteY12" fmla="*/ 123255 h 128112"/>
                <a:gd name="connsiteX13" fmla="*/ 43020 w 100582"/>
                <a:gd name="connsiteY13" fmla="*/ 128113 h 128112"/>
                <a:gd name="connsiteX14" fmla="*/ 11512 w 100582"/>
                <a:gd name="connsiteY14" fmla="*/ 118398 h 128112"/>
                <a:gd name="connsiteX15" fmla="*/ 0 w 100582"/>
                <a:gd name="connsiteY15" fmla="*/ 91682 h 128112"/>
                <a:gd name="connsiteX16" fmla="*/ 12724 w 100582"/>
                <a:gd name="connsiteY16" fmla="*/ 63753 h 128112"/>
                <a:gd name="connsiteX17" fmla="*/ 46656 w 100582"/>
                <a:gd name="connsiteY17" fmla="*/ 54645 h 128112"/>
                <a:gd name="connsiteX18" fmla="*/ 64227 w 100582"/>
                <a:gd name="connsiteY18" fmla="*/ 54645 h 128112"/>
                <a:gd name="connsiteX19" fmla="*/ 80587 w 100582"/>
                <a:gd name="connsiteY19" fmla="*/ 55252 h 128112"/>
                <a:gd name="connsiteX20" fmla="*/ 80587 w 100582"/>
                <a:gd name="connsiteY20" fmla="*/ 44323 h 128112"/>
                <a:gd name="connsiteX21" fmla="*/ 72710 w 100582"/>
                <a:gd name="connsiteY21" fmla="*/ 24894 h 128112"/>
                <a:gd name="connsiteX22" fmla="*/ 53321 w 100582"/>
                <a:gd name="connsiteY22" fmla="*/ 18822 h 128112"/>
                <a:gd name="connsiteX23" fmla="*/ 33325 w 100582"/>
                <a:gd name="connsiteY23" fmla="*/ 25501 h 128112"/>
                <a:gd name="connsiteX24" fmla="*/ 23631 w 100582"/>
                <a:gd name="connsiteY24" fmla="*/ 41287 h 128112"/>
                <a:gd name="connsiteX25" fmla="*/ 4241 w 100582"/>
                <a:gd name="connsiteY25" fmla="*/ 37037 h 128112"/>
                <a:gd name="connsiteX26" fmla="*/ 20601 w 100582"/>
                <a:gd name="connsiteY26" fmla="*/ 10322 h 128112"/>
                <a:gd name="connsiteX27" fmla="*/ 53321 w 100582"/>
                <a:gd name="connsiteY27" fmla="*/ 0 h 128112"/>
                <a:gd name="connsiteX28" fmla="*/ 87252 w 100582"/>
                <a:gd name="connsiteY28" fmla="*/ 10322 h 128112"/>
                <a:gd name="connsiteX29" fmla="*/ 100582 w 100582"/>
                <a:gd name="connsiteY29" fmla="*/ 43109 h 128112"/>
                <a:gd name="connsiteX30" fmla="*/ 100582 w 100582"/>
                <a:gd name="connsiteY30" fmla="*/ 125684 h 128112"/>
                <a:gd name="connsiteX31" fmla="*/ 81799 w 100582"/>
                <a:gd name="connsiteY31" fmla="*/ 125684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582" h="128112">
                  <a:moveTo>
                    <a:pt x="80587" y="71039"/>
                  </a:moveTo>
                  <a:cubicBezTo>
                    <a:pt x="75740" y="71039"/>
                    <a:pt x="70286" y="71039"/>
                    <a:pt x="64227" y="71039"/>
                  </a:cubicBezTo>
                  <a:cubicBezTo>
                    <a:pt x="58774" y="71039"/>
                    <a:pt x="52715" y="71039"/>
                    <a:pt x="46656" y="71039"/>
                  </a:cubicBezTo>
                  <a:cubicBezTo>
                    <a:pt x="38173" y="71646"/>
                    <a:pt x="31508" y="73467"/>
                    <a:pt x="27266" y="76503"/>
                  </a:cubicBezTo>
                  <a:cubicBezTo>
                    <a:pt x="23025" y="80146"/>
                    <a:pt x="20601" y="85004"/>
                    <a:pt x="20601" y="91075"/>
                  </a:cubicBezTo>
                  <a:cubicBezTo>
                    <a:pt x="20601" y="97147"/>
                    <a:pt x="22419" y="101397"/>
                    <a:pt x="26660" y="105040"/>
                  </a:cubicBezTo>
                  <a:cubicBezTo>
                    <a:pt x="30902" y="108683"/>
                    <a:pt x="36355" y="110505"/>
                    <a:pt x="43626" y="110505"/>
                  </a:cubicBezTo>
                  <a:cubicBezTo>
                    <a:pt x="53927" y="110505"/>
                    <a:pt x="62409" y="108076"/>
                    <a:pt x="69680" y="102611"/>
                  </a:cubicBezTo>
                  <a:cubicBezTo>
                    <a:pt x="76951" y="97754"/>
                    <a:pt x="80587" y="91075"/>
                    <a:pt x="80587" y="82575"/>
                  </a:cubicBezTo>
                  <a:lnTo>
                    <a:pt x="80587" y="71039"/>
                  </a:lnTo>
                  <a:close/>
                  <a:moveTo>
                    <a:pt x="81799" y="125684"/>
                  </a:moveTo>
                  <a:lnTo>
                    <a:pt x="81799" y="111112"/>
                  </a:lnTo>
                  <a:cubicBezTo>
                    <a:pt x="78163" y="115969"/>
                    <a:pt x="72710" y="120219"/>
                    <a:pt x="66045" y="123255"/>
                  </a:cubicBezTo>
                  <a:cubicBezTo>
                    <a:pt x="59380" y="126291"/>
                    <a:pt x="52109" y="128113"/>
                    <a:pt x="43020" y="128113"/>
                  </a:cubicBezTo>
                  <a:cubicBezTo>
                    <a:pt x="29690" y="128113"/>
                    <a:pt x="19389" y="125077"/>
                    <a:pt x="11512" y="118398"/>
                  </a:cubicBezTo>
                  <a:cubicBezTo>
                    <a:pt x="3635" y="111719"/>
                    <a:pt x="0" y="102611"/>
                    <a:pt x="0" y="91682"/>
                  </a:cubicBezTo>
                  <a:cubicBezTo>
                    <a:pt x="0" y="78932"/>
                    <a:pt x="4241" y="69824"/>
                    <a:pt x="12724" y="63753"/>
                  </a:cubicBezTo>
                  <a:cubicBezTo>
                    <a:pt x="21207" y="58288"/>
                    <a:pt x="32114" y="54645"/>
                    <a:pt x="46656" y="54645"/>
                  </a:cubicBezTo>
                  <a:cubicBezTo>
                    <a:pt x="52715" y="54645"/>
                    <a:pt x="58774" y="54645"/>
                    <a:pt x="64227" y="54645"/>
                  </a:cubicBezTo>
                  <a:cubicBezTo>
                    <a:pt x="69680" y="54645"/>
                    <a:pt x="75134" y="54645"/>
                    <a:pt x="80587" y="55252"/>
                  </a:cubicBezTo>
                  <a:lnTo>
                    <a:pt x="80587" y="44323"/>
                  </a:lnTo>
                  <a:cubicBezTo>
                    <a:pt x="80587" y="35216"/>
                    <a:pt x="78163" y="28537"/>
                    <a:pt x="72710" y="24894"/>
                  </a:cubicBezTo>
                  <a:cubicBezTo>
                    <a:pt x="67863" y="20644"/>
                    <a:pt x="61197" y="18822"/>
                    <a:pt x="53321" y="18822"/>
                  </a:cubicBezTo>
                  <a:cubicBezTo>
                    <a:pt x="44838" y="18822"/>
                    <a:pt x="38173" y="21251"/>
                    <a:pt x="33325" y="25501"/>
                  </a:cubicBezTo>
                  <a:cubicBezTo>
                    <a:pt x="29084" y="29751"/>
                    <a:pt x="25448" y="35216"/>
                    <a:pt x="23631" y="41287"/>
                  </a:cubicBezTo>
                  <a:lnTo>
                    <a:pt x="4241" y="37037"/>
                  </a:lnTo>
                  <a:cubicBezTo>
                    <a:pt x="6665" y="26108"/>
                    <a:pt x="12118" y="17608"/>
                    <a:pt x="20601" y="10322"/>
                  </a:cubicBezTo>
                  <a:cubicBezTo>
                    <a:pt x="29084" y="3643"/>
                    <a:pt x="39990" y="0"/>
                    <a:pt x="53321" y="0"/>
                  </a:cubicBezTo>
                  <a:cubicBezTo>
                    <a:pt x="67257" y="0"/>
                    <a:pt x="78769" y="3643"/>
                    <a:pt x="87252" y="10322"/>
                  </a:cubicBezTo>
                  <a:cubicBezTo>
                    <a:pt x="96341" y="17608"/>
                    <a:pt x="100582" y="28537"/>
                    <a:pt x="100582" y="43109"/>
                  </a:cubicBezTo>
                  <a:lnTo>
                    <a:pt x="100582" y="125684"/>
                  </a:lnTo>
                  <a:lnTo>
                    <a:pt x="81799" y="125684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0D3034A-AB0E-A740-8B75-39B7FEDB4FB3}"/>
                </a:ext>
              </a:extLst>
            </p:cNvPr>
            <p:cNvSpPr/>
            <p:nvPr/>
          </p:nvSpPr>
          <p:spPr>
            <a:xfrm>
              <a:off x="1373569" y="5739365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9AF1852C-0969-F44F-9BE4-53C016FAD576}"/>
                </a:ext>
              </a:extLst>
            </p:cNvPr>
            <p:cNvSpPr/>
            <p:nvPr/>
          </p:nvSpPr>
          <p:spPr>
            <a:xfrm>
              <a:off x="1517777" y="5739365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45D4FCA0-14DC-494B-BCD3-DA0F923920D4}"/>
                </a:ext>
              </a:extLst>
            </p:cNvPr>
            <p:cNvSpPr/>
            <p:nvPr/>
          </p:nvSpPr>
          <p:spPr>
            <a:xfrm>
              <a:off x="1661985" y="5739365"/>
              <a:ext cx="133907" cy="123255"/>
            </a:xfrm>
            <a:custGeom>
              <a:avLst/>
              <a:gdLst>
                <a:gd name="connsiteX0" fmla="*/ 113306 w 133907"/>
                <a:gd name="connsiteY0" fmla="*/ 0 h 123255"/>
                <a:gd name="connsiteX1" fmla="*/ 133908 w 133907"/>
                <a:gd name="connsiteY1" fmla="*/ 0 h 123255"/>
                <a:gd name="connsiteX2" fmla="*/ 133908 w 133907"/>
                <a:gd name="connsiteY2" fmla="*/ 123255 h 123255"/>
                <a:gd name="connsiteX3" fmla="*/ 113306 w 133907"/>
                <a:gd name="connsiteY3" fmla="*/ 123255 h 123255"/>
                <a:gd name="connsiteX4" fmla="*/ 113306 w 133907"/>
                <a:gd name="connsiteY4" fmla="*/ 0 h 123255"/>
                <a:gd name="connsiteX5" fmla="*/ 52109 w 133907"/>
                <a:gd name="connsiteY5" fmla="*/ 61324 h 123255"/>
                <a:gd name="connsiteX6" fmla="*/ 20601 w 133907"/>
                <a:gd name="connsiteY6" fmla="*/ 61324 h 123255"/>
                <a:gd name="connsiteX7" fmla="*/ 20601 w 133907"/>
                <a:gd name="connsiteY7" fmla="*/ 105040 h 123255"/>
                <a:gd name="connsiteX8" fmla="*/ 52109 w 133907"/>
                <a:gd name="connsiteY8" fmla="*/ 105040 h 123255"/>
                <a:gd name="connsiteX9" fmla="*/ 70892 w 133907"/>
                <a:gd name="connsiteY9" fmla="*/ 98969 h 123255"/>
                <a:gd name="connsiteX10" fmla="*/ 75740 w 133907"/>
                <a:gd name="connsiteY10" fmla="*/ 82575 h 123255"/>
                <a:gd name="connsiteX11" fmla="*/ 70892 w 133907"/>
                <a:gd name="connsiteY11" fmla="*/ 66789 h 123255"/>
                <a:gd name="connsiteX12" fmla="*/ 52109 w 133907"/>
                <a:gd name="connsiteY12" fmla="*/ 61324 h 123255"/>
                <a:gd name="connsiteX13" fmla="*/ 0 w 133907"/>
                <a:gd name="connsiteY13" fmla="*/ 123255 h 123255"/>
                <a:gd name="connsiteX14" fmla="*/ 0 w 133907"/>
                <a:gd name="connsiteY14" fmla="*/ 0 h 123255"/>
                <a:gd name="connsiteX15" fmla="*/ 20601 w 133907"/>
                <a:gd name="connsiteY15" fmla="*/ 0 h 123255"/>
                <a:gd name="connsiteX16" fmla="*/ 20601 w 133907"/>
                <a:gd name="connsiteY16" fmla="*/ 42502 h 123255"/>
                <a:gd name="connsiteX17" fmla="*/ 52109 w 133907"/>
                <a:gd name="connsiteY17" fmla="*/ 42502 h 123255"/>
                <a:gd name="connsiteX18" fmla="*/ 84222 w 133907"/>
                <a:gd name="connsiteY18" fmla="*/ 52824 h 123255"/>
                <a:gd name="connsiteX19" fmla="*/ 95129 w 133907"/>
                <a:gd name="connsiteY19" fmla="*/ 81968 h 123255"/>
                <a:gd name="connsiteX20" fmla="*/ 84222 w 133907"/>
                <a:gd name="connsiteY20" fmla="*/ 112326 h 123255"/>
                <a:gd name="connsiteX21" fmla="*/ 51503 w 133907"/>
                <a:gd name="connsiteY21" fmla="*/ 123255 h 123255"/>
                <a:gd name="connsiteX22" fmla="*/ 0 w 133907"/>
                <a:gd name="connsiteY22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907" h="123255">
                  <a:moveTo>
                    <a:pt x="113306" y="0"/>
                  </a:moveTo>
                  <a:lnTo>
                    <a:pt x="133908" y="0"/>
                  </a:lnTo>
                  <a:lnTo>
                    <a:pt x="133908" y="123255"/>
                  </a:lnTo>
                  <a:lnTo>
                    <a:pt x="113306" y="123255"/>
                  </a:lnTo>
                  <a:lnTo>
                    <a:pt x="113306" y="0"/>
                  </a:lnTo>
                  <a:close/>
                  <a:moveTo>
                    <a:pt x="52109" y="61324"/>
                  </a:moveTo>
                  <a:lnTo>
                    <a:pt x="20601" y="61324"/>
                  </a:lnTo>
                  <a:lnTo>
                    <a:pt x="20601" y="105040"/>
                  </a:lnTo>
                  <a:lnTo>
                    <a:pt x="52109" y="105040"/>
                  </a:lnTo>
                  <a:cubicBezTo>
                    <a:pt x="61198" y="105040"/>
                    <a:pt x="67863" y="102612"/>
                    <a:pt x="70892" y="98969"/>
                  </a:cubicBezTo>
                  <a:cubicBezTo>
                    <a:pt x="74528" y="94718"/>
                    <a:pt x="75740" y="89254"/>
                    <a:pt x="75740" y="82575"/>
                  </a:cubicBezTo>
                  <a:cubicBezTo>
                    <a:pt x="75740" y="75896"/>
                    <a:pt x="73922" y="70432"/>
                    <a:pt x="70892" y="66789"/>
                  </a:cubicBezTo>
                  <a:cubicBezTo>
                    <a:pt x="67863" y="63146"/>
                    <a:pt x="61803" y="61324"/>
                    <a:pt x="52109" y="61324"/>
                  </a:cubicBezTo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42502"/>
                  </a:lnTo>
                  <a:lnTo>
                    <a:pt x="52109" y="42502"/>
                  </a:lnTo>
                  <a:cubicBezTo>
                    <a:pt x="66045" y="42502"/>
                    <a:pt x="76951" y="46145"/>
                    <a:pt x="84222" y="52824"/>
                  </a:cubicBezTo>
                  <a:cubicBezTo>
                    <a:pt x="91493" y="59503"/>
                    <a:pt x="95129" y="69217"/>
                    <a:pt x="95129" y="81968"/>
                  </a:cubicBezTo>
                  <a:cubicBezTo>
                    <a:pt x="95129" y="94718"/>
                    <a:pt x="91493" y="105040"/>
                    <a:pt x="84222" y="112326"/>
                  </a:cubicBezTo>
                  <a:cubicBezTo>
                    <a:pt x="76951" y="119612"/>
                    <a:pt x="66045" y="123255"/>
                    <a:pt x="51503" y="123255"/>
                  </a:cubicBezTo>
                  <a:lnTo>
                    <a:pt x="0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A2FFC28F-85FD-BE41-8204-70A20F75E032}"/>
                </a:ext>
              </a:extLst>
            </p:cNvPr>
            <p:cNvSpPr/>
            <p:nvPr/>
          </p:nvSpPr>
          <p:spPr>
            <a:xfrm>
              <a:off x="1818917" y="5739365"/>
              <a:ext cx="116941" cy="123255"/>
            </a:xfrm>
            <a:custGeom>
              <a:avLst/>
              <a:gdLst>
                <a:gd name="connsiteX0" fmla="*/ 92099 w 116941"/>
                <a:gd name="connsiteY0" fmla="*/ 123255 h 123255"/>
                <a:gd name="connsiteX1" fmla="*/ 57562 w 116941"/>
                <a:gd name="connsiteY1" fmla="*/ 74075 h 123255"/>
                <a:gd name="connsiteX2" fmla="*/ 24237 w 116941"/>
                <a:gd name="connsiteY2" fmla="*/ 123255 h 123255"/>
                <a:gd name="connsiteX3" fmla="*/ 0 w 116941"/>
                <a:gd name="connsiteY3" fmla="*/ 123255 h 123255"/>
                <a:gd name="connsiteX4" fmla="*/ 45444 w 116941"/>
                <a:gd name="connsiteY4" fmla="*/ 60110 h 123255"/>
                <a:gd name="connsiteX5" fmla="*/ 3030 w 116941"/>
                <a:gd name="connsiteY5" fmla="*/ 0 h 123255"/>
                <a:gd name="connsiteX6" fmla="*/ 26660 w 116941"/>
                <a:gd name="connsiteY6" fmla="*/ 0 h 123255"/>
                <a:gd name="connsiteX7" fmla="*/ 57562 w 116941"/>
                <a:gd name="connsiteY7" fmla="*/ 45538 h 123255"/>
                <a:gd name="connsiteX8" fmla="*/ 89070 w 116941"/>
                <a:gd name="connsiteY8" fmla="*/ 0 h 123255"/>
                <a:gd name="connsiteX9" fmla="*/ 112700 w 116941"/>
                <a:gd name="connsiteY9" fmla="*/ 0 h 123255"/>
                <a:gd name="connsiteX10" fmla="*/ 69680 w 116941"/>
                <a:gd name="connsiteY10" fmla="*/ 58895 h 123255"/>
                <a:gd name="connsiteX11" fmla="*/ 116942 w 116941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941" h="123255">
                  <a:moveTo>
                    <a:pt x="92099" y="123255"/>
                  </a:moveTo>
                  <a:lnTo>
                    <a:pt x="57562" y="74075"/>
                  </a:lnTo>
                  <a:lnTo>
                    <a:pt x="24237" y="123255"/>
                  </a:lnTo>
                  <a:lnTo>
                    <a:pt x="0" y="123255"/>
                  </a:lnTo>
                  <a:lnTo>
                    <a:pt x="45444" y="60110"/>
                  </a:lnTo>
                  <a:lnTo>
                    <a:pt x="3030" y="0"/>
                  </a:lnTo>
                  <a:lnTo>
                    <a:pt x="26660" y="0"/>
                  </a:lnTo>
                  <a:lnTo>
                    <a:pt x="57562" y="45538"/>
                  </a:lnTo>
                  <a:lnTo>
                    <a:pt x="89070" y="0"/>
                  </a:lnTo>
                  <a:lnTo>
                    <a:pt x="112700" y="0"/>
                  </a:lnTo>
                  <a:lnTo>
                    <a:pt x="69680" y="58895"/>
                  </a:lnTo>
                  <a:lnTo>
                    <a:pt x="116942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8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368960" y="6001054"/>
              <a:ext cx="249637" cy="176686"/>
              <a:chOff x="368960" y="6001054"/>
              <a:chExt cx="249637" cy="176686"/>
            </a:xfrm>
            <a:solidFill>
              <a:srgbClr val="CFD4D9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F3BC9B31-FED1-1348-9FC7-4B7596D6EE7B}"/>
                  </a:ext>
                </a:extLst>
              </p:cNvPr>
              <p:cNvSpPr/>
              <p:nvPr/>
            </p:nvSpPr>
            <p:spPr>
              <a:xfrm>
                <a:off x="368960" y="6001054"/>
                <a:ext cx="116335" cy="176686"/>
              </a:xfrm>
              <a:custGeom>
                <a:avLst/>
                <a:gdLst>
                  <a:gd name="connsiteX0" fmla="*/ 19995 w 116335"/>
                  <a:gd name="connsiteY0" fmla="*/ 74682 h 176686"/>
                  <a:gd name="connsiteX1" fmla="*/ 31508 w 116335"/>
                  <a:gd name="connsiteY1" fmla="*/ 100790 h 176686"/>
                  <a:gd name="connsiteX2" fmla="*/ 58774 w 116335"/>
                  <a:gd name="connsiteY2" fmla="*/ 110505 h 176686"/>
                  <a:gd name="connsiteX3" fmla="*/ 85434 w 116335"/>
                  <a:gd name="connsiteY3" fmla="*/ 97754 h 176686"/>
                  <a:gd name="connsiteX4" fmla="*/ 95129 w 116335"/>
                  <a:gd name="connsiteY4" fmla="*/ 63753 h 176686"/>
                  <a:gd name="connsiteX5" fmla="*/ 85434 w 116335"/>
                  <a:gd name="connsiteY5" fmla="*/ 30966 h 176686"/>
                  <a:gd name="connsiteX6" fmla="*/ 58168 w 116335"/>
                  <a:gd name="connsiteY6" fmla="*/ 18215 h 176686"/>
                  <a:gd name="connsiteX7" fmla="*/ 44232 w 116335"/>
                  <a:gd name="connsiteY7" fmla="*/ 20644 h 176686"/>
                  <a:gd name="connsiteX8" fmla="*/ 32114 w 116335"/>
                  <a:gd name="connsiteY8" fmla="*/ 28537 h 176686"/>
                  <a:gd name="connsiteX9" fmla="*/ 23631 w 116335"/>
                  <a:gd name="connsiteY9" fmla="*/ 41287 h 176686"/>
                  <a:gd name="connsiteX10" fmla="*/ 20601 w 116335"/>
                  <a:gd name="connsiteY10" fmla="*/ 58895 h 176686"/>
                  <a:gd name="connsiteX11" fmla="*/ 20601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19995" y="74682"/>
                    </a:moveTo>
                    <a:cubicBezTo>
                      <a:pt x="19995" y="86218"/>
                      <a:pt x="23631" y="94718"/>
                      <a:pt x="31508" y="100790"/>
                    </a:cubicBezTo>
                    <a:cubicBezTo>
                      <a:pt x="39385" y="106862"/>
                      <a:pt x="48473" y="110505"/>
                      <a:pt x="58774" y="110505"/>
                    </a:cubicBezTo>
                    <a:cubicBezTo>
                      <a:pt x="70286" y="110505"/>
                      <a:pt x="78769" y="106255"/>
                      <a:pt x="85434" y="97754"/>
                    </a:cubicBezTo>
                    <a:cubicBezTo>
                      <a:pt x="92099" y="89254"/>
                      <a:pt x="95129" y="78325"/>
                      <a:pt x="95129" y="63753"/>
                    </a:cubicBezTo>
                    <a:cubicBezTo>
                      <a:pt x="95129" y="50395"/>
                      <a:pt x="92099" y="39466"/>
                      <a:pt x="85434" y="30966"/>
                    </a:cubicBezTo>
                    <a:cubicBezTo>
                      <a:pt x="78769" y="22465"/>
                      <a:pt x="69680" y="18215"/>
                      <a:pt x="58168" y="18215"/>
                    </a:cubicBezTo>
                    <a:cubicBezTo>
                      <a:pt x="53321" y="18215"/>
                      <a:pt x="48473" y="18822"/>
                      <a:pt x="44232" y="20644"/>
                    </a:cubicBezTo>
                    <a:cubicBezTo>
                      <a:pt x="39990" y="22465"/>
                      <a:pt x="35749" y="24894"/>
                      <a:pt x="32114" y="28537"/>
                    </a:cubicBezTo>
                    <a:cubicBezTo>
                      <a:pt x="28478" y="32180"/>
                      <a:pt x="25448" y="36430"/>
                      <a:pt x="23631" y="41287"/>
                    </a:cubicBezTo>
                    <a:cubicBezTo>
                      <a:pt x="21207" y="46752"/>
                      <a:pt x="20601" y="52216"/>
                      <a:pt x="20601" y="58895"/>
                    </a:cubicBezTo>
                    <a:lnTo>
                      <a:pt x="20601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2750"/>
                      <a:pt x="30902" y="8500"/>
                      <a:pt x="38779" y="4857"/>
                    </a:cubicBezTo>
                    <a:cubicBezTo>
                      <a:pt x="46050" y="1822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2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2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4E2BC8D1-0D0C-9D43-867A-437A37E4CDDF}"/>
                  </a:ext>
                </a:extLst>
              </p:cNvPr>
              <p:cNvSpPr/>
              <p:nvPr/>
            </p:nvSpPr>
            <p:spPr>
              <a:xfrm>
                <a:off x="508321" y="6002269"/>
                <a:ext cx="110276" cy="128112"/>
              </a:xfrm>
              <a:custGeom>
                <a:avLst/>
                <a:gdLst>
                  <a:gd name="connsiteX0" fmla="*/ 56956 w 110276"/>
                  <a:gd name="connsiteY0" fmla="*/ 17001 h 128112"/>
                  <a:gd name="connsiteX1" fmla="*/ 33325 w 110276"/>
                  <a:gd name="connsiteY1" fmla="*/ 26108 h 128112"/>
                  <a:gd name="connsiteX2" fmla="*/ 21207 w 110276"/>
                  <a:gd name="connsiteY2" fmla="*/ 49788 h 128112"/>
                  <a:gd name="connsiteX3" fmla="*/ 90282 w 110276"/>
                  <a:gd name="connsiteY3" fmla="*/ 49788 h 128112"/>
                  <a:gd name="connsiteX4" fmla="*/ 81799 w 110276"/>
                  <a:gd name="connsiteY4" fmla="*/ 26108 h 128112"/>
                  <a:gd name="connsiteX5" fmla="*/ 56956 w 110276"/>
                  <a:gd name="connsiteY5" fmla="*/ 17001 h 128112"/>
                  <a:gd name="connsiteX6" fmla="*/ 110277 w 110276"/>
                  <a:gd name="connsiteY6" fmla="*/ 67396 h 128112"/>
                  <a:gd name="connsiteX7" fmla="*/ 20601 w 110276"/>
                  <a:gd name="connsiteY7" fmla="*/ 67396 h 128112"/>
                  <a:gd name="connsiteX8" fmla="*/ 32114 w 110276"/>
                  <a:gd name="connsiteY8" fmla="*/ 98969 h 128112"/>
                  <a:gd name="connsiteX9" fmla="*/ 58168 w 110276"/>
                  <a:gd name="connsiteY9" fmla="*/ 109898 h 128112"/>
                  <a:gd name="connsiteX10" fmla="*/ 80587 w 110276"/>
                  <a:gd name="connsiteY10" fmla="*/ 103219 h 128112"/>
                  <a:gd name="connsiteX11" fmla="*/ 90887 w 110276"/>
                  <a:gd name="connsiteY11" fmla="*/ 87432 h 128112"/>
                  <a:gd name="connsiteX12" fmla="*/ 110277 w 110276"/>
                  <a:gd name="connsiteY12" fmla="*/ 91075 h 128112"/>
                  <a:gd name="connsiteX13" fmla="*/ 92099 w 110276"/>
                  <a:gd name="connsiteY13" fmla="*/ 118398 h 128112"/>
                  <a:gd name="connsiteX14" fmla="*/ 57562 w 110276"/>
                  <a:gd name="connsiteY14" fmla="*/ 128113 h 128112"/>
                  <a:gd name="connsiteX15" fmla="*/ 15754 w 110276"/>
                  <a:gd name="connsiteY15" fmla="*/ 111112 h 128112"/>
                  <a:gd name="connsiteX16" fmla="*/ 0 w 110276"/>
                  <a:gd name="connsiteY16" fmla="*/ 63753 h 128112"/>
                  <a:gd name="connsiteX17" fmla="*/ 4241 w 110276"/>
                  <a:gd name="connsiteY17" fmla="*/ 36430 h 128112"/>
                  <a:gd name="connsiteX18" fmla="*/ 16360 w 110276"/>
                  <a:gd name="connsiteY18" fmla="*/ 16394 h 128112"/>
                  <a:gd name="connsiteX19" fmla="*/ 34537 w 110276"/>
                  <a:gd name="connsiteY19" fmla="*/ 4250 h 128112"/>
                  <a:gd name="connsiteX20" fmla="*/ 56956 w 110276"/>
                  <a:gd name="connsiteY20" fmla="*/ 0 h 128112"/>
                  <a:gd name="connsiteX21" fmla="*/ 95735 w 110276"/>
                  <a:gd name="connsiteY21" fmla="*/ 15786 h 128112"/>
                  <a:gd name="connsiteX22" fmla="*/ 110277 w 110276"/>
                  <a:gd name="connsiteY22" fmla="*/ 59503 h 128112"/>
                  <a:gd name="connsiteX23" fmla="*/ 110277 w 110276"/>
                  <a:gd name="connsiteY23" fmla="*/ 67396 h 12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0276" h="128112">
                    <a:moveTo>
                      <a:pt x="56956" y="17001"/>
                    </a:moveTo>
                    <a:cubicBezTo>
                      <a:pt x="47261" y="17001"/>
                      <a:pt x="39385" y="20037"/>
                      <a:pt x="33325" y="26108"/>
                    </a:cubicBezTo>
                    <a:cubicBezTo>
                      <a:pt x="26660" y="32180"/>
                      <a:pt x="23025" y="40073"/>
                      <a:pt x="21207" y="49788"/>
                    </a:cubicBezTo>
                    <a:lnTo>
                      <a:pt x="90282" y="49788"/>
                    </a:lnTo>
                    <a:cubicBezTo>
                      <a:pt x="89676" y="40073"/>
                      <a:pt x="86646" y="32180"/>
                      <a:pt x="81799" y="26108"/>
                    </a:cubicBezTo>
                    <a:cubicBezTo>
                      <a:pt x="75740" y="20037"/>
                      <a:pt x="67863" y="17001"/>
                      <a:pt x="56956" y="17001"/>
                    </a:cubicBezTo>
                    <a:moveTo>
                      <a:pt x="110277" y="67396"/>
                    </a:moveTo>
                    <a:lnTo>
                      <a:pt x="20601" y="67396"/>
                    </a:lnTo>
                    <a:cubicBezTo>
                      <a:pt x="21207" y="81361"/>
                      <a:pt x="24843" y="91683"/>
                      <a:pt x="32114" y="98969"/>
                    </a:cubicBezTo>
                    <a:cubicBezTo>
                      <a:pt x="38779" y="106255"/>
                      <a:pt x="47867" y="109898"/>
                      <a:pt x="58168" y="109898"/>
                    </a:cubicBezTo>
                    <a:cubicBezTo>
                      <a:pt x="67863" y="109898"/>
                      <a:pt x="75134" y="107469"/>
                      <a:pt x="80587" y="103219"/>
                    </a:cubicBezTo>
                    <a:cubicBezTo>
                      <a:pt x="86040" y="98969"/>
                      <a:pt x="89070" y="93504"/>
                      <a:pt x="90887" y="87432"/>
                    </a:cubicBezTo>
                    <a:lnTo>
                      <a:pt x="110277" y="91075"/>
                    </a:lnTo>
                    <a:cubicBezTo>
                      <a:pt x="107247" y="102611"/>
                      <a:pt x="101188" y="111719"/>
                      <a:pt x="92099" y="118398"/>
                    </a:cubicBezTo>
                    <a:cubicBezTo>
                      <a:pt x="83011" y="125077"/>
                      <a:pt x="71498" y="128113"/>
                      <a:pt x="57562" y="128113"/>
                    </a:cubicBezTo>
                    <a:cubicBezTo>
                      <a:pt x="39990" y="128113"/>
                      <a:pt x="26054" y="122648"/>
                      <a:pt x="15754" y="111112"/>
                    </a:cubicBezTo>
                    <a:cubicBezTo>
                      <a:pt x="5453" y="99576"/>
                      <a:pt x="0" y="83789"/>
                      <a:pt x="0" y="63753"/>
                    </a:cubicBezTo>
                    <a:cubicBezTo>
                      <a:pt x="0" y="53431"/>
                      <a:pt x="1212" y="44323"/>
                      <a:pt x="4241" y="36430"/>
                    </a:cubicBezTo>
                    <a:cubicBezTo>
                      <a:pt x="7271" y="28537"/>
                      <a:pt x="11512" y="21858"/>
                      <a:pt x="16360" y="16394"/>
                    </a:cubicBezTo>
                    <a:cubicBezTo>
                      <a:pt x="21207" y="10929"/>
                      <a:pt x="27872" y="6679"/>
                      <a:pt x="34537" y="4250"/>
                    </a:cubicBezTo>
                    <a:cubicBezTo>
                      <a:pt x="41808" y="1214"/>
                      <a:pt x="49079" y="0"/>
                      <a:pt x="56956" y="0"/>
                    </a:cubicBezTo>
                    <a:cubicBezTo>
                      <a:pt x="73316" y="0"/>
                      <a:pt x="86040" y="5464"/>
                      <a:pt x="95735" y="15786"/>
                    </a:cubicBezTo>
                    <a:cubicBezTo>
                      <a:pt x="105429" y="26108"/>
                      <a:pt x="110277" y="40680"/>
                      <a:pt x="110277" y="59503"/>
                    </a:cubicBezTo>
                    <a:lnTo>
                      <a:pt x="110277" y="6739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D538EF1-09C4-5448-A023-ECE6ED903AEA}"/>
                </a:ext>
              </a:extLst>
            </p:cNvPr>
            <p:cNvSpPr/>
            <p:nvPr/>
          </p:nvSpPr>
          <p:spPr>
            <a:xfrm>
              <a:off x="648893" y="6004090"/>
              <a:ext cx="161779" cy="123255"/>
            </a:xfrm>
            <a:custGeom>
              <a:avLst/>
              <a:gdLst>
                <a:gd name="connsiteX0" fmla="*/ 161780 w 161779"/>
                <a:gd name="connsiteY0" fmla="*/ 0 h 123255"/>
                <a:gd name="connsiteX1" fmla="*/ 161780 w 161779"/>
                <a:gd name="connsiteY1" fmla="*/ 123255 h 123255"/>
                <a:gd name="connsiteX2" fmla="*/ 0 w 161779"/>
                <a:gd name="connsiteY2" fmla="*/ 123255 h 123255"/>
                <a:gd name="connsiteX3" fmla="*/ 0 w 161779"/>
                <a:gd name="connsiteY3" fmla="*/ 0 h 123255"/>
                <a:gd name="connsiteX4" fmla="*/ 19995 w 161779"/>
                <a:gd name="connsiteY4" fmla="*/ 0 h 123255"/>
                <a:gd name="connsiteX5" fmla="*/ 19995 w 161779"/>
                <a:gd name="connsiteY5" fmla="*/ 104433 h 123255"/>
                <a:gd name="connsiteX6" fmla="*/ 70286 w 161779"/>
                <a:gd name="connsiteY6" fmla="*/ 104433 h 123255"/>
                <a:gd name="connsiteX7" fmla="*/ 70286 w 161779"/>
                <a:gd name="connsiteY7" fmla="*/ 0 h 123255"/>
                <a:gd name="connsiteX8" fmla="*/ 90887 w 161779"/>
                <a:gd name="connsiteY8" fmla="*/ 0 h 123255"/>
                <a:gd name="connsiteX9" fmla="*/ 90887 w 161779"/>
                <a:gd name="connsiteY9" fmla="*/ 104433 h 123255"/>
                <a:gd name="connsiteX10" fmla="*/ 141178 w 161779"/>
                <a:gd name="connsiteY10" fmla="*/ 104433 h 123255"/>
                <a:gd name="connsiteX11" fmla="*/ 141178 w 161779"/>
                <a:gd name="connsiteY11" fmla="*/ 0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779" h="123255">
                  <a:moveTo>
                    <a:pt x="161780" y="0"/>
                  </a:moveTo>
                  <a:lnTo>
                    <a:pt x="161780" y="123255"/>
                  </a:lnTo>
                  <a:lnTo>
                    <a:pt x="0" y="123255"/>
                  </a:lnTo>
                  <a:lnTo>
                    <a:pt x="0" y="0"/>
                  </a:lnTo>
                  <a:lnTo>
                    <a:pt x="19995" y="0"/>
                  </a:lnTo>
                  <a:lnTo>
                    <a:pt x="19995" y="104433"/>
                  </a:lnTo>
                  <a:lnTo>
                    <a:pt x="70286" y="104433"/>
                  </a:lnTo>
                  <a:lnTo>
                    <a:pt x="70286" y="0"/>
                  </a:lnTo>
                  <a:lnTo>
                    <a:pt x="90887" y="0"/>
                  </a:lnTo>
                  <a:lnTo>
                    <a:pt x="90887" y="104433"/>
                  </a:lnTo>
                  <a:lnTo>
                    <a:pt x="141178" y="104433"/>
                  </a:lnTo>
                  <a:lnTo>
                    <a:pt x="141178" y="0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406CBEB-901C-C047-9A70-891DF09F1017}"/>
                </a:ext>
              </a:extLst>
            </p:cNvPr>
            <p:cNvSpPr/>
            <p:nvPr/>
          </p:nvSpPr>
          <p:spPr>
            <a:xfrm>
              <a:off x="840969" y="6002269"/>
              <a:ext cx="110276" cy="128112"/>
            </a:xfrm>
            <a:custGeom>
              <a:avLst/>
              <a:gdLst>
                <a:gd name="connsiteX0" fmla="*/ 56956 w 110276"/>
                <a:gd name="connsiteY0" fmla="*/ 17001 h 128112"/>
                <a:gd name="connsiteX1" fmla="*/ 33325 w 110276"/>
                <a:gd name="connsiteY1" fmla="*/ 26108 h 128112"/>
                <a:gd name="connsiteX2" fmla="*/ 21207 w 110276"/>
                <a:gd name="connsiteY2" fmla="*/ 49788 h 128112"/>
                <a:gd name="connsiteX3" fmla="*/ 89676 w 110276"/>
                <a:gd name="connsiteY3" fmla="*/ 49788 h 128112"/>
                <a:gd name="connsiteX4" fmla="*/ 81193 w 110276"/>
                <a:gd name="connsiteY4" fmla="*/ 26108 h 128112"/>
                <a:gd name="connsiteX5" fmla="*/ 56956 w 110276"/>
                <a:gd name="connsiteY5" fmla="*/ 17001 h 128112"/>
                <a:gd name="connsiteX6" fmla="*/ 110277 w 110276"/>
                <a:gd name="connsiteY6" fmla="*/ 67396 h 128112"/>
                <a:gd name="connsiteX7" fmla="*/ 20601 w 110276"/>
                <a:gd name="connsiteY7" fmla="*/ 67396 h 128112"/>
                <a:gd name="connsiteX8" fmla="*/ 32114 w 110276"/>
                <a:gd name="connsiteY8" fmla="*/ 98969 h 128112"/>
                <a:gd name="connsiteX9" fmla="*/ 58168 w 110276"/>
                <a:gd name="connsiteY9" fmla="*/ 109898 h 128112"/>
                <a:gd name="connsiteX10" fmla="*/ 80587 w 110276"/>
                <a:gd name="connsiteY10" fmla="*/ 103219 h 128112"/>
                <a:gd name="connsiteX11" fmla="*/ 90887 w 110276"/>
                <a:gd name="connsiteY11" fmla="*/ 87432 h 128112"/>
                <a:gd name="connsiteX12" fmla="*/ 110277 w 110276"/>
                <a:gd name="connsiteY12" fmla="*/ 91075 h 128112"/>
                <a:gd name="connsiteX13" fmla="*/ 92099 w 110276"/>
                <a:gd name="connsiteY13" fmla="*/ 118398 h 128112"/>
                <a:gd name="connsiteX14" fmla="*/ 57562 w 110276"/>
                <a:gd name="connsiteY14" fmla="*/ 128113 h 128112"/>
                <a:gd name="connsiteX15" fmla="*/ 15754 w 110276"/>
                <a:gd name="connsiteY15" fmla="*/ 111112 h 128112"/>
                <a:gd name="connsiteX16" fmla="*/ 0 w 110276"/>
                <a:gd name="connsiteY16" fmla="*/ 63753 h 128112"/>
                <a:gd name="connsiteX17" fmla="*/ 4241 w 110276"/>
                <a:gd name="connsiteY17" fmla="*/ 36430 h 128112"/>
                <a:gd name="connsiteX18" fmla="*/ 16360 w 110276"/>
                <a:gd name="connsiteY18" fmla="*/ 16394 h 128112"/>
                <a:gd name="connsiteX19" fmla="*/ 34537 w 110276"/>
                <a:gd name="connsiteY19" fmla="*/ 4250 h 128112"/>
                <a:gd name="connsiteX20" fmla="*/ 56956 w 110276"/>
                <a:gd name="connsiteY20" fmla="*/ 0 h 128112"/>
                <a:gd name="connsiteX21" fmla="*/ 95735 w 110276"/>
                <a:gd name="connsiteY21" fmla="*/ 15786 h 128112"/>
                <a:gd name="connsiteX22" fmla="*/ 110277 w 110276"/>
                <a:gd name="connsiteY22" fmla="*/ 59503 h 128112"/>
                <a:gd name="connsiteX23" fmla="*/ 110277 w 110276"/>
                <a:gd name="connsiteY23" fmla="*/ 67396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0276" h="128112">
                  <a:moveTo>
                    <a:pt x="56956" y="17001"/>
                  </a:moveTo>
                  <a:cubicBezTo>
                    <a:pt x="47261" y="17001"/>
                    <a:pt x="39385" y="20037"/>
                    <a:pt x="33325" y="26108"/>
                  </a:cubicBezTo>
                  <a:cubicBezTo>
                    <a:pt x="26660" y="32180"/>
                    <a:pt x="23025" y="40073"/>
                    <a:pt x="21207" y="49788"/>
                  </a:cubicBezTo>
                  <a:lnTo>
                    <a:pt x="89676" y="49788"/>
                  </a:lnTo>
                  <a:cubicBezTo>
                    <a:pt x="89070" y="40073"/>
                    <a:pt x="86040" y="32180"/>
                    <a:pt x="81193" y="26108"/>
                  </a:cubicBezTo>
                  <a:cubicBezTo>
                    <a:pt x="75740" y="20037"/>
                    <a:pt x="67863" y="17001"/>
                    <a:pt x="56956" y="17001"/>
                  </a:cubicBezTo>
                  <a:moveTo>
                    <a:pt x="110277" y="67396"/>
                  </a:moveTo>
                  <a:lnTo>
                    <a:pt x="20601" y="67396"/>
                  </a:lnTo>
                  <a:cubicBezTo>
                    <a:pt x="21207" y="81361"/>
                    <a:pt x="24843" y="91683"/>
                    <a:pt x="32114" y="98969"/>
                  </a:cubicBezTo>
                  <a:cubicBezTo>
                    <a:pt x="38779" y="106255"/>
                    <a:pt x="47867" y="109898"/>
                    <a:pt x="58168" y="109898"/>
                  </a:cubicBezTo>
                  <a:cubicBezTo>
                    <a:pt x="67863" y="109898"/>
                    <a:pt x="75134" y="107469"/>
                    <a:pt x="80587" y="103219"/>
                  </a:cubicBezTo>
                  <a:cubicBezTo>
                    <a:pt x="86040" y="98969"/>
                    <a:pt x="89070" y="93504"/>
                    <a:pt x="90887" y="87432"/>
                  </a:cubicBezTo>
                  <a:lnTo>
                    <a:pt x="110277" y="91075"/>
                  </a:lnTo>
                  <a:cubicBezTo>
                    <a:pt x="107247" y="102611"/>
                    <a:pt x="101188" y="111719"/>
                    <a:pt x="92099" y="118398"/>
                  </a:cubicBezTo>
                  <a:cubicBezTo>
                    <a:pt x="83011" y="125077"/>
                    <a:pt x="71498" y="128113"/>
                    <a:pt x="57562" y="128113"/>
                  </a:cubicBezTo>
                  <a:cubicBezTo>
                    <a:pt x="39991" y="128113"/>
                    <a:pt x="26054" y="122648"/>
                    <a:pt x="15754" y="111112"/>
                  </a:cubicBezTo>
                  <a:cubicBezTo>
                    <a:pt x="5453" y="99576"/>
                    <a:pt x="0" y="83789"/>
                    <a:pt x="0" y="63753"/>
                  </a:cubicBezTo>
                  <a:cubicBezTo>
                    <a:pt x="0" y="53431"/>
                    <a:pt x="1212" y="44323"/>
                    <a:pt x="4241" y="36430"/>
                  </a:cubicBezTo>
                  <a:cubicBezTo>
                    <a:pt x="7271" y="28537"/>
                    <a:pt x="11512" y="21858"/>
                    <a:pt x="16360" y="16394"/>
                  </a:cubicBezTo>
                  <a:cubicBezTo>
                    <a:pt x="21207" y="10929"/>
                    <a:pt x="27872" y="6679"/>
                    <a:pt x="34537" y="4250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3316" y="0"/>
                    <a:pt x="86040" y="5464"/>
                    <a:pt x="95735" y="15786"/>
                  </a:cubicBezTo>
                  <a:cubicBezTo>
                    <a:pt x="105429" y="26108"/>
                    <a:pt x="110277" y="40680"/>
                    <a:pt x="110277" y="59503"/>
                  </a:cubicBezTo>
                  <a:lnTo>
                    <a:pt x="110277" y="67396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637D608A-56A2-0F4D-B83C-5125774C3DA3}"/>
                </a:ext>
              </a:extLst>
            </p:cNvPr>
            <p:cNvSpPr/>
            <p:nvPr/>
          </p:nvSpPr>
          <p:spPr>
            <a:xfrm>
              <a:off x="981541" y="6004090"/>
              <a:ext cx="105429" cy="123255"/>
            </a:xfrm>
            <a:custGeom>
              <a:avLst/>
              <a:gdLst>
                <a:gd name="connsiteX0" fmla="*/ 0 w 105429"/>
                <a:gd name="connsiteY0" fmla="*/ 123255 h 123255"/>
                <a:gd name="connsiteX1" fmla="*/ 0 w 105429"/>
                <a:gd name="connsiteY1" fmla="*/ 0 h 123255"/>
                <a:gd name="connsiteX2" fmla="*/ 19995 w 105429"/>
                <a:gd name="connsiteY2" fmla="*/ 0 h 123255"/>
                <a:gd name="connsiteX3" fmla="*/ 19995 w 105429"/>
                <a:gd name="connsiteY3" fmla="*/ 50395 h 123255"/>
                <a:gd name="connsiteX4" fmla="*/ 85434 w 105429"/>
                <a:gd name="connsiteY4" fmla="*/ 50395 h 123255"/>
                <a:gd name="connsiteX5" fmla="*/ 85434 w 105429"/>
                <a:gd name="connsiteY5" fmla="*/ 0 h 123255"/>
                <a:gd name="connsiteX6" fmla="*/ 105429 w 105429"/>
                <a:gd name="connsiteY6" fmla="*/ 0 h 123255"/>
                <a:gd name="connsiteX7" fmla="*/ 105429 w 105429"/>
                <a:gd name="connsiteY7" fmla="*/ 123255 h 123255"/>
                <a:gd name="connsiteX8" fmla="*/ 85434 w 105429"/>
                <a:gd name="connsiteY8" fmla="*/ 123255 h 123255"/>
                <a:gd name="connsiteX9" fmla="*/ 85434 w 105429"/>
                <a:gd name="connsiteY9" fmla="*/ 69824 h 123255"/>
                <a:gd name="connsiteX10" fmla="*/ 19995 w 105429"/>
                <a:gd name="connsiteY10" fmla="*/ 69824 h 123255"/>
                <a:gd name="connsiteX11" fmla="*/ 19995 w 105429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429" h="123255">
                  <a:moveTo>
                    <a:pt x="0" y="123255"/>
                  </a:moveTo>
                  <a:lnTo>
                    <a:pt x="0" y="0"/>
                  </a:lnTo>
                  <a:lnTo>
                    <a:pt x="19995" y="0"/>
                  </a:lnTo>
                  <a:lnTo>
                    <a:pt x="19995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5429" y="0"/>
                  </a:lnTo>
                  <a:lnTo>
                    <a:pt x="105429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19995" y="69824"/>
                  </a:lnTo>
                  <a:lnTo>
                    <a:pt x="19995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9E2D56B-79BF-B94A-A1AF-575B1A1C53FF}"/>
                </a:ext>
              </a:extLst>
            </p:cNvPr>
            <p:cNvSpPr/>
            <p:nvPr/>
          </p:nvSpPr>
          <p:spPr>
            <a:xfrm>
              <a:off x="1125749" y="6004090"/>
              <a:ext cx="103005" cy="123255"/>
            </a:xfrm>
            <a:custGeom>
              <a:avLst/>
              <a:gdLst>
                <a:gd name="connsiteX0" fmla="*/ 21813 w 103005"/>
                <a:gd name="connsiteY0" fmla="*/ 123255 h 123255"/>
                <a:gd name="connsiteX1" fmla="*/ 0 w 103005"/>
                <a:gd name="connsiteY1" fmla="*/ 123255 h 123255"/>
                <a:gd name="connsiteX2" fmla="*/ 0 w 103005"/>
                <a:gd name="connsiteY2" fmla="*/ 0 h 123255"/>
                <a:gd name="connsiteX3" fmla="*/ 19389 w 103005"/>
                <a:gd name="connsiteY3" fmla="*/ 0 h 123255"/>
                <a:gd name="connsiteX4" fmla="*/ 19389 w 103005"/>
                <a:gd name="connsiteY4" fmla="*/ 96540 h 123255"/>
                <a:gd name="connsiteX5" fmla="*/ 80587 w 103005"/>
                <a:gd name="connsiteY5" fmla="*/ 0 h 123255"/>
                <a:gd name="connsiteX6" fmla="*/ 103006 w 103005"/>
                <a:gd name="connsiteY6" fmla="*/ 0 h 123255"/>
                <a:gd name="connsiteX7" fmla="*/ 103006 w 103005"/>
                <a:gd name="connsiteY7" fmla="*/ 123255 h 123255"/>
                <a:gd name="connsiteX8" fmla="*/ 83616 w 103005"/>
                <a:gd name="connsiteY8" fmla="*/ 123255 h 123255"/>
                <a:gd name="connsiteX9" fmla="*/ 83616 w 103005"/>
                <a:gd name="connsiteY9" fmla="*/ 26108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005" h="123255">
                  <a:moveTo>
                    <a:pt x="21813" y="123255"/>
                  </a:moveTo>
                  <a:lnTo>
                    <a:pt x="0" y="123255"/>
                  </a:lnTo>
                  <a:lnTo>
                    <a:pt x="0" y="0"/>
                  </a:lnTo>
                  <a:lnTo>
                    <a:pt x="19389" y="0"/>
                  </a:lnTo>
                  <a:lnTo>
                    <a:pt x="19389" y="96540"/>
                  </a:lnTo>
                  <a:lnTo>
                    <a:pt x="80587" y="0"/>
                  </a:lnTo>
                  <a:lnTo>
                    <a:pt x="103006" y="0"/>
                  </a:lnTo>
                  <a:lnTo>
                    <a:pt x="103006" y="123255"/>
                  </a:lnTo>
                  <a:lnTo>
                    <a:pt x="83616" y="123255"/>
                  </a:lnTo>
                  <a:lnTo>
                    <a:pt x="83616" y="26108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BE46DC9E-427D-EA4F-B748-F67A49365836}"/>
                </a:ext>
              </a:extLst>
            </p:cNvPr>
            <p:cNvSpPr/>
            <p:nvPr/>
          </p:nvSpPr>
          <p:spPr>
            <a:xfrm>
              <a:off x="1267534" y="5957338"/>
              <a:ext cx="103611" cy="170007"/>
            </a:xfrm>
            <a:custGeom>
              <a:avLst/>
              <a:gdLst>
                <a:gd name="connsiteX0" fmla="*/ 52109 w 103611"/>
                <a:gd name="connsiteY0" fmla="*/ 33394 h 170007"/>
                <a:gd name="connsiteX1" fmla="*/ 24237 w 103611"/>
                <a:gd name="connsiteY1" fmla="*/ 24287 h 170007"/>
                <a:gd name="connsiteX2" fmla="*/ 15148 w 103611"/>
                <a:gd name="connsiteY2" fmla="*/ 0 h 170007"/>
                <a:gd name="connsiteX3" fmla="*/ 32113 w 103611"/>
                <a:gd name="connsiteY3" fmla="*/ 0 h 170007"/>
                <a:gd name="connsiteX4" fmla="*/ 37567 w 103611"/>
                <a:gd name="connsiteY4" fmla="*/ 13358 h 170007"/>
                <a:gd name="connsiteX5" fmla="*/ 51503 w 103611"/>
                <a:gd name="connsiteY5" fmla="*/ 18215 h 170007"/>
                <a:gd name="connsiteX6" fmla="*/ 65439 w 103611"/>
                <a:gd name="connsiteY6" fmla="*/ 13358 h 170007"/>
                <a:gd name="connsiteX7" fmla="*/ 70892 w 103611"/>
                <a:gd name="connsiteY7" fmla="*/ 0 h 170007"/>
                <a:gd name="connsiteX8" fmla="*/ 87858 w 103611"/>
                <a:gd name="connsiteY8" fmla="*/ 0 h 170007"/>
                <a:gd name="connsiteX9" fmla="*/ 78769 w 103611"/>
                <a:gd name="connsiteY9" fmla="*/ 24287 h 170007"/>
                <a:gd name="connsiteX10" fmla="*/ 52109 w 103611"/>
                <a:gd name="connsiteY10" fmla="*/ 33394 h 170007"/>
                <a:gd name="connsiteX11" fmla="*/ 21813 w 103611"/>
                <a:gd name="connsiteY11" fmla="*/ 170007 h 170007"/>
                <a:gd name="connsiteX12" fmla="*/ 0 w 103611"/>
                <a:gd name="connsiteY12" fmla="*/ 170007 h 170007"/>
                <a:gd name="connsiteX13" fmla="*/ 0 w 103611"/>
                <a:gd name="connsiteY13" fmla="*/ 46752 h 170007"/>
                <a:gd name="connsiteX14" fmla="*/ 19995 w 103611"/>
                <a:gd name="connsiteY14" fmla="*/ 46752 h 170007"/>
                <a:gd name="connsiteX15" fmla="*/ 19995 w 103611"/>
                <a:gd name="connsiteY15" fmla="*/ 143292 h 170007"/>
                <a:gd name="connsiteX16" fmla="*/ 81193 w 103611"/>
                <a:gd name="connsiteY16" fmla="*/ 46752 h 170007"/>
                <a:gd name="connsiteX17" fmla="*/ 103612 w 103611"/>
                <a:gd name="connsiteY17" fmla="*/ 46752 h 170007"/>
                <a:gd name="connsiteX18" fmla="*/ 103612 w 103611"/>
                <a:gd name="connsiteY18" fmla="*/ 170007 h 170007"/>
                <a:gd name="connsiteX19" fmla="*/ 83616 w 103611"/>
                <a:gd name="connsiteY19" fmla="*/ 170007 h 170007"/>
                <a:gd name="connsiteX20" fmla="*/ 83616 w 103611"/>
                <a:gd name="connsiteY20" fmla="*/ 72860 h 170007"/>
                <a:gd name="connsiteX21" fmla="*/ 21813 w 103611"/>
                <a:gd name="connsiteY21" fmla="*/ 170007 h 17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3611" h="170007">
                  <a:moveTo>
                    <a:pt x="52109" y="33394"/>
                  </a:moveTo>
                  <a:cubicBezTo>
                    <a:pt x="39385" y="33394"/>
                    <a:pt x="30296" y="30358"/>
                    <a:pt x="24237" y="24287"/>
                  </a:cubicBezTo>
                  <a:cubicBezTo>
                    <a:pt x="18177" y="18215"/>
                    <a:pt x="15148" y="10322"/>
                    <a:pt x="15148" y="0"/>
                  </a:cubicBezTo>
                  <a:lnTo>
                    <a:pt x="32113" y="0"/>
                  </a:lnTo>
                  <a:cubicBezTo>
                    <a:pt x="32719" y="5464"/>
                    <a:pt x="34537" y="10322"/>
                    <a:pt x="37567" y="13358"/>
                  </a:cubicBezTo>
                  <a:cubicBezTo>
                    <a:pt x="40596" y="16394"/>
                    <a:pt x="45444" y="18215"/>
                    <a:pt x="51503" y="18215"/>
                  </a:cubicBezTo>
                  <a:cubicBezTo>
                    <a:pt x="57562" y="18215"/>
                    <a:pt x="62409" y="16394"/>
                    <a:pt x="65439" y="13358"/>
                  </a:cubicBezTo>
                  <a:cubicBezTo>
                    <a:pt x="68468" y="10322"/>
                    <a:pt x="70286" y="5464"/>
                    <a:pt x="70892" y="0"/>
                  </a:cubicBezTo>
                  <a:lnTo>
                    <a:pt x="87858" y="0"/>
                  </a:lnTo>
                  <a:cubicBezTo>
                    <a:pt x="87252" y="9715"/>
                    <a:pt x="84222" y="17608"/>
                    <a:pt x="78769" y="24287"/>
                  </a:cubicBezTo>
                  <a:cubicBezTo>
                    <a:pt x="73316" y="30358"/>
                    <a:pt x="64227" y="33394"/>
                    <a:pt x="52109" y="33394"/>
                  </a:cubicBezTo>
                  <a:moveTo>
                    <a:pt x="21813" y="170007"/>
                  </a:moveTo>
                  <a:lnTo>
                    <a:pt x="0" y="170007"/>
                  </a:lnTo>
                  <a:lnTo>
                    <a:pt x="0" y="46752"/>
                  </a:lnTo>
                  <a:lnTo>
                    <a:pt x="19995" y="46752"/>
                  </a:lnTo>
                  <a:lnTo>
                    <a:pt x="19995" y="143292"/>
                  </a:lnTo>
                  <a:lnTo>
                    <a:pt x="81193" y="46752"/>
                  </a:lnTo>
                  <a:lnTo>
                    <a:pt x="103612" y="46752"/>
                  </a:lnTo>
                  <a:lnTo>
                    <a:pt x="103612" y="170007"/>
                  </a:lnTo>
                  <a:lnTo>
                    <a:pt x="83616" y="170007"/>
                  </a:lnTo>
                  <a:lnTo>
                    <a:pt x="83616" y="72860"/>
                  </a:lnTo>
                  <a:lnTo>
                    <a:pt x="21813" y="170007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63F66C5F-55B0-C14D-AA50-7ACDBA64B24B}"/>
                </a:ext>
              </a:extLst>
            </p:cNvPr>
            <p:cNvSpPr/>
            <p:nvPr/>
          </p:nvSpPr>
          <p:spPr>
            <a:xfrm>
              <a:off x="356842" y="4732072"/>
              <a:ext cx="1039146" cy="549487"/>
            </a:xfrm>
            <a:custGeom>
              <a:avLst/>
              <a:gdLst>
                <a:gd name="connsiteX0" fmla="*/ 1039146 w 1039146"/>
                <a:gd name="connsiteY0" fmla="*/ 0 h 549487"/>
                <a:gd name="connsiteX1" fmla="*/ 0 w 1039146"/>
                <a:gd name="connsiteY1" fmla="*/ 456591 h 549487"/>
                <a:gd name="connsiteX2" fmla="*/ 0 w 1039146"/>
                <a:gd name="connsiteY2" fmla="*/ 549488 h 549487"/>
                <a:gd name="connsiteX3" fmla="*/ 1039146 w 1039146"/>
                <a:gd name="connsiteY3" fmla="*/ 92897 h 54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9146" h="549487">
                  <a:moveTo>
                    <a:pt x="1039146" y="0"/>
                  </a:moveTo>
                  <a:lnTo>
                    <a:pt x="0" y="456591"/>
                  </a:lnTo>
                  <a:lnTo>
                    <a:pt x="0" y="549488"/>
                  </a:lnTo>
                  <a:lnTo>
                    <a:pt x="1039146" y="92897"/>
                  </a:lnTo>
                  <a:close/>
                </a:path>
              </a:pathLst>
            </a:custGeom>
            <a:solidFill>
              <a:srgbClr val="E22B26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</p:spTree>
    <p:extLst>
      <p:ext uri="{BB962C8B-B14F-4D97-AF65-F5344CB8AC3E}">
        <p14:creationId xmlns:p14="http://schemas.microsoft.com/office/powerpoint/2010/main" val="3833374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CF413E9-40E0-A046-93E5-106433A74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32588" y="0"/>
            <a:ext cx="4789487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/>
            </a:lvl1pPr>
          </a:lstStyle>
          <a:p>
            <a:endParaRPr lang="x-none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D9D474A-60EC-E841-9105-E6C8804564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0941" y="2006755"/>
            <a:ext cx="6428772" cy="2133445"/>
          </a:xfrm>
          <a:prstGeom prst="rect">
            <a:avLst/>
          </a:prstGeom>
          <a:noFill/>
        </p:spPr>
        <p:txBody>
          <a:bodyPr lIns="180000" tIns="180000" rIns="864000" bIns="36000" anchor="t" anchorCtr="0">
            <a:noAutofit/>
          </a:bodyPr>
          <a:lstStyle>
            <a:lvl1pPr algn="l">
              <a:lnSpc>
                <a:spcPct val="100000"/>
              </a:lnSpc>
              <a:defRPr sz="47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63FA0F8-BE28-4D42-9479-7121AA2286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7169" y="4291538"/>
            <a:ext cx="5491162" cy="821799"/>
          </a:xfrm>
          <a:prstGeom prst="rect">
            <a:avLst/>
          </a:prstGeom>
        </p:spPr>
        <p:txBody>
          <a:bodyPr lIns="180000" rIns="86400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0" i="0" smtClean="0">
                <a:solidFill>
                  <a:srgbClr val="19212C"/>
                </a:solidFill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ru-RU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ru-RU" dirty="0"/>
              <a:t> </a:t>
            </a:r>
            <a:endParaRPr lang="x-none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78953E9-97B3-7349-B94E-9C0EAD1142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26991" y="5351956"/>
            <a:ext cx="2345629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x-none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1D04850-D4C9-544F-ABD2-B2DF7CEDC3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52975" y="5367504"/>
            <a:ext cx="1836738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x-none" dirty="0"/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8C0088D3-3FA6-534C-8282-796801C56328}"/>
              </a:ext>
            </a:extLst>
          </p:cNvPr>
          <p:cNvGrpSpPr/>
          <p:nvPr userDrawn="1"/>
        </p:nvGrpSpPr>
        <p:grpSpPr>
          <a:xfrm>
            <a:off x="367238" y="406457"/>
            <a:ext cx="748776" cy="795503"/>
            <a:chOff x="4522787" y="1925637"/>
            <a:chExt cx="2472690" cy="2627001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51EB077-9AD1-B445-86CD-DC4638C0C451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6ECA50A-7DD1-7640-BFAB-C6BF76ACE5E4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409EFD2-1E5F-934E-98FC-CB0FB9891DAB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FA7B93E-DE11-0C42-9FDB-635B9BB922E3}"/>
              </a:ext>
            </a:extLst>
          </p:cNvPr>
          <p:cNvGrpSpPr/>
          <p:nvPr/>
        </p:nvGrpSpPr>
        <p:grpSpPr>
          <a:xfrm>
            <a:off x="322778" y="5445861"/>
            <a:ext cx="837693" cy="720718"/>
            <a:chOff x="322778" y="5445861"/>
            <a:chExt cx="837693" cy="720718"/>
          </a:xfrm>
        </p:grpSpPr>
        <p:grpSp>
          <p:nvGrpSpPr>
            <p:cNvPr id="3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349290" y="5786435"/>
              <a:ext cx="327743" cy="106553"/>
              <a:chOff x="349290" y="5786435"/>
              <a:chExt cx="327743" cy="106553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FD809D4D-CEFB-CD44-890E-6CC8CAE30F89}"/>
                  </a:ext>
                </a:extLst>
              </p:cNvPr>
              <p:cNvSpPr/>
              <p:nvPr/>
            </p:nvSpPr>
            <p:spPr>
              <a:xfrm>
                <a:off x="349290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1570AD26-5BB7-D94D-AE4F-C426093ED2DA}"/>
                  </a:ext>
                </a:extLst>
              </p:cNvPr>
              <p:cNvSpPr/>
              <p:nvPr/>
            </p:nvSpPr>
            <p:spPr>
              <a:xfrm>
                <a:off x="432778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DB71EE2F-B57B-C04F-B3F8-2F632116B5E8}"/>
                  </a:ext>
                </a:extLst>
              </p:cNvPr>
              <p:cNvSpPr/>
              <p:nvPr/>
            </p:nvSpPr>
            <p:spPr>
              <a:xfrm>
                <a:off x="501316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23DEF7E2-7DC1-4942-9C85-106595C0C28B}"/>
                  </a:ext>
                </a:extLst>
              </p:cNvPr>
              <p:cNvSpPr/>
              <p:nvPr/>
            </p:nvSpPr>
            <p:spPr>
              <a:xfrm>
                <a:off x="557444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9872F911-B5E6-5445-A16F-4041EA39AAD7}"/>
                  </a:ext>
                </a:extLst>
              </p:cNvPr>
              <p:cNvSpPr/>
              <p:nvPr/>
            </p:nvSpPr>
            <p:spPr>
              <a:xfrm>
                <a:off x="622880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23AD634-2BE8-314E-AFDC-4D639CC30A8F}"/>
                </a:ext>
              </a:extLst>
            </p:cNvPr>
            <p:cNvSpPr/>
            <p:nvPr/>
          </p:nvSpPr>
          <p:spPr>
            <a:xfrm>
              <a:off x="691419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2ACB3F3-4CB4-8444-8A0E-8DF00021317C}"/>
                </a:ext>
              </a:extLst>
            </p:cNvPr>
            <p:cNvSpPr/>
            <p:nvPr/>
          </p:nvSpPr>
          <p:spPr>
            <a:xfrm>
              <a:off x="780829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848144D-6708-7A4D-A281-F5E054E1DD23}"/>
                </a:ext>
              </a:extLst>
            </p:cNvPr>
            <p:cNvSpPr/>
            <p:nvPr/>
          </p:nvSpPr>
          <p:spPr>
            <a:xfrm>
              <a:off x="846265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8D39686-802C-5F4F-A5D0-4245BDBF74BA}"/>
                </a:ext>
              </a:extLst>
            </p:cNvPr>
            <p:cNvSpPr/>
            <p:nvPr/>
          </p:nvSpPr>
          <p:spPr>
            <a:xfrm>
              <a:off x="910291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4A55DE7-CA8E-0840-8A5D-CAC473787E8B}"/>
                </a:ext>
              </a:extLst>
            </p:cNvPr>
            <p:cNvSpPr/>
            <p:nvPr/>
          </p:nvSpPr>
          <p:spPr>
            <a:xfrm>
              <a:off x="968111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4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1031291" y="5811024"/>
              <a:ext cx="110282" cy="59918"/>
              <a:chOff x="1031291" y="5811024"/>
              <a:chExt cx="110282" cy="59918"/>
            </a:xfrm>
            <a:solidFill>
              <a:srgbClr val="CFD4D9"/>
            </a:solidFill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594A101E-06B7-1947-9317-FC7D7E0291F8}"/>
                  </a:ext>
                </a:extLst>
              </p:cNvPr>
              <p:cNvSpPr/>
              <p:nvPr/>
            </p:nvSpPr>
            <p:spPr>
              <a:xfrm>
                <a:off x="1031291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F755969-685C-9E45-8E21-154064CC4ACA}"/>
                  </a:ext>
                </a:extLst>
              </p:cNvPr>
              <p:cNvSpPr/>
              <p:nvPr/>
            </p:nvSpPr>
            <p:spPr>
              <a:xfrm>
                <a:off x="1087701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1356EE0-0A07-F142-85BE-2D1A3DE3BDD7}"/>
                </a:ext>
              </a:extLst>
            </p:cNvPr>
            <p:cNvSpPr/>
            <p:nvPr/>
          </p:nvSpPr>
          <p:spPr>
            <a:xfrm>
              <a:off x="351829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28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417829" y="5933970"/>
              <a:ext cx="245948" cy="82246"/>
              <a:chOff x="417829" y="5933970"/>
              <a:chExt cx="245948" cy="82246"/>
            </a:xfrm>
            <a:solidFill>
              <a:srgbClr val="CFD4D9"/>
            </a:solidFill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D43FD1D5-41D8-2A4E-B5DC-49B4F5A818F2}"/>
                  </a:ext>
                </a:extLst>
              </p:cNvPr>
              <p:cNvSpPr/>
              <p:nvPr/>
            </p:nvSpPr>
            <p:spPr>
              <a:xfrm>
                <a:off x="417829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1E64769E-32E5-9F47-9D5B-5483F8F4DE50}"/>
                  </a:ext>
                </a:extLst>
              </p:cNvPr>
              <p:cNvSpPr/>
              <p:nvPr/>
            </p:nvSpPr>
            <p:spPr>
              <a:xfrm>
                <a:off x="482983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9B71F156-CD9A-034F-9CBB-CBAB2ECAA703}"/>
                  </a:ext>
                </a:extLst>
              </p:cNvPr>
              <p:cNvSpPr/>
              <p:nvPr/>
            </p:nvSpPr>
            <p:spPr>
              <a:xfrm>
                <a:off x="541932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9AA9C04-C6E9-E342-A945-C5B4E2EAE82C}"/>
                  </a:ext>
                </a:extLst>
              </p:cNvPr>
              <p:cNvSpPr/>
              <p:nvPr/>
            </p:nvSpPr>
            <p:spPr>
              <a:xfrm>
                <a:off x="608214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1962B0C-2005-EF40-9A1E-B753FA614827}"/>
                </a:ext>
              </a:extLst>
            </p:cNvPr>
            <p:cNvSpPr/>
            <p:nvPr/>
          </p:nvSpPr>
          <p:spPr>
            <a:xfrm>
              <a:off x="673650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5422049-BD4A-B140-88D7-FA949505F6A7}"/>
                </a:ext>
              </a:extLst>
            </p:cNvPr>
            <p:cNvSpPr/>
            <p:nvPr/>
          </p:nvSpPr>
          <p:spPr>
            <a:xfrm>
              <a:off x="755162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FF7B6FA-8C8D-6E47-A9DF-DF291042086E}"/>
                </a:ext>
              </a:extLst>
            </p:cNvPr>
            <p:cNvSpPr/>
            <p:nvPr/>
          </p:nvSpPr>
          <p:spPr>
            <a:xfrm>
              <a:off x="819470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0AF6EFB-1E57-E94C-AC8D-487785EE95FB}"/>
                </a:ext>
              </a:extLst>
            </p:cNvPr>
            <p:cNvSpPr/>
            <p:nvPr/>
          </p:nvSpPr>
          <p:spPr>
            <a:xfrm>
              <a:off x="886598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67BCDA38-3E2E-3B41-9481-C92AE6AD1D32}"/>
                </a:ext>
              </a:extLst>
            </p:cNvPr>
            <p:cNvSpPr/>
            <p:nvPr/>
          </p:nvSpPr>
          <p:spPr>
            <a:xfrm>
              <a:off x="953727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344C2DB0-5C48-B34D-A28C-AFECC7A74E5E}"/>
                </a:ext>
              </a:extLst>
            </p:cNvPr>
            <p:cNvSpPr/>
            <p:nvPr/>
          </p:nvSpPr>
          <p:spPr>
            <a:xfrm>
              <a:off x="1026778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9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351829" y="6057199"/>
              <a:ext cx="116205" cy="82246"/>
              <a:chOff x="351829" y="6057199"/>
              <a:chExt cx="116205" cy="82246"/>
            </a:xfrm>
            <a:solidFill>
              <a:srgbClr val="CFD4D9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870A2C9-2722-2D42-A794-AB0269D968C3}"/>
                  </a:ext>
                </a:extLst>
              </p:cNvPr>
              <p:cNvSpPr/>
              <p:nvPr/>
            </p:nvSpPr>
            <p:spPr>
              <a:xfrm>
                <a:off x="351829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189C74-7479-0C4B-8B0E-4F62FF8E26F5}"/>
                  </a:ext>
                </a:extLst>
              </p:cNvPr>
              <p:cNvSpPr/>
              <p:nvPr/>
            </p:nvSpPr>
            <p:spPr>
              <a:xfrm>
                <a:off x="416701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EE55384D-3B34-9946-8EF3-4606A317DEE6}"/>
                </a:ext>
              </a:extLst>
            </p:cNvPr>
            <p:cNvSpPr/>
            <p:nvPr/>
          </p:nvSpPr>
          <p:spPr>
            <a:xfrm>
              <a:off x="482137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FB921AC-9713-554E-8CF1-4B3D02CE14F8}"/>
                </a:ext>
              </a:extLst>
            </p:cNvPr>
            <p:cNvSpPr/>
            <p:nvPr/>
          </p:nvSpPr>
          <p:spPr>
            <a:xfrm>
              <a:off x="571547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6EE2926A-3DFB-D54D-AD92-032FA5608BFB}"/>
                </a:ext>
              </a:extLst>
            </p:cNvPr>
            <p:cNvSpPr/>
            <p:nvPr/>
          </p:nvSpPr>
          <p:spPr>
            <a:xfrm>
              <a:off x="636983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D4A249C8-809F-A44B-A673-3F0FCD684A54}"/>
                </a:ext>
              </a:extLst>
            </p:cNvPr>
            <p:cNvSpPr/>
            <p:nvPr/>
          </p:nvSpPr>
          <p:spPr>
            <a:xfrm>
              <a:off x="704111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D745E468-FFD0-CF42-B9A0-224DF613E7E0}"/>
                </a:ext>
              </a:extLst>
            </p:cNvPr>
            <p:cNvSpPr/>
            <p:nvPr/>
          </p:nvSpPr>
          <p:spPr>
            <a:xfrm>
              <a:off x="770111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1FC246AC-160C-4340-9035-2C36C4A6F42B}"/>
                </a:ext>
              </a:extLst>
            </p:cNvPr>
            <p:cNvSpPr/>
            <p:nvPr/>
          </p:nvSpPr>
          <p:spPr>
            <a:xfrm>
              <a:off x="346188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</p:spTree>
    <p:extLst>
      <p:ext uri="{BB962C8B-B14F-4D97-AF65-F5344CB8AC3E}">
        <p14:creationId xmlns:p14="http://schemas.microsoft.com/office/powerpoint/2010/main" val="42302434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F2470D-FE3A-D142-BD29-D6DCE3FC6B06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9D7150-06E9-6947-AA7E-D44BB26EF6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121" y="1957397"/>
            <a:ext cx="1766517" cy="1500823"/>
          </a:xfrm>
          <a:prstGeom prst="rect">
            <a:avLst/>
          </a:prstGeom>
        </p:spPr>
        <p:txBody>
          <a:bodyPr lIns="36000" rIns="36000" anchor="b"/>
          <a:lstStyle>
            <a:lvl1pPr marL="0" indent="0">
              <a:buFontTx/>
              <a:buNone/>
              <a:defRPr sz="89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1.</a:t>
            </a:r>
            <a:endParaRPr lang="x-none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73263" y="2427825"/>
            <a:ext cx="8214770" cy="2613024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55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x-none" dirty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354AB68-1687-054E-852E-E8222B1E3C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21886E4-4545-DE4F-B871-DC9883391B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12828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1331915"/>
            <a:ext cx="6373813" cy="3816349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55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x-non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A7F86-BC36-3241-91E5-D03882836D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32588" y="1331915"/>
            <a:ext cx="4429124" cy="3816348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D176CE-8965-5349-9FBA-5A96377315F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01B00CD-A1FA-E242-8C42-584DF7EACB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45546C9A-5E11-424E-858D-8C2913D9A7B7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4CD8EB8-EB60-2F4E-88CC-EAA88C251C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6985898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10850" y="1338782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E234472-3A79-734B-9127-2E39BF1704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595" y="1343160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1</a:t>
            </a:r>
            <a:endParaRPr lang="x-none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F8A3B24-DB1D-D348-9CC0-41A5E0834DF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4CB1BE9-50A2-7C4D-9CF7-3464B2DF4F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5FAF87A9-D7BE-BB43-9797-C43BB67B41B6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2BE3C1B-5529-D447-AB7F-DAD052520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0850" y="2342560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5D355C5-5EF1-264B-BB84-8EE513EF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3595" y="2346938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2</a:t>
            </a:r>
            <a:endParaRPr lang="x-none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E908FB7-7107-9144-9347-A345944ECA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10850" y="3318837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C22DB187-9EE2-FA49-9AB7-1C9430B1C1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73595" y="3323215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3</a:t>
            </a:r>
            <a:endParaRPr lang="x-none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68AFE12-336C-8147-938D-A97B4AFA69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10850" y="4288238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80448E5-AEF3-5C44-9DA9-9E7E006710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3595" y="4292616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4</a:t>
            </a:r>
            <a:endParaRPr lang="x-none" dirty="0"/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05E0B9DD-EF5B-2140-9D97-C7B87DE0EE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491544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1938" y="2346850"/>
            <a:ext cx="2570925" cy="1793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E234472-3A79-734B-9127-2E39BF1704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0475" y="1338788"/>
            <a:ext cx="1115702" cy="856725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1</a:t>
            </a:r>
            <a:endParaRPr lang="x-none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E84E3E2-55B9-A64C-9522-E34E7A416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69325" y="1323164"/>
            <a:ext cx="1115702" cy="872349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3</a:t>
            </a:r>
            <a:endParaRPr lang="x-none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2A95B7-1960-3C46-A3E2-A69CF73DA5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39238" y="2346849"/>
            <a:ext cx="2585512" cy="17933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CF245511-1FDC-9D4A-843B-BA998A6CF7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3075" y="2349669"/>
            <a:ext cx="2578637" cy="17905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A1A4C7-71E6-764B-9C70-8194D70344F3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07EC68B-0BD4-B342-A3B0-C0D70F6032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134CABE2-6F52-6348-8C28-44587CA34A5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D7DD4C2-07BC-9A4D-8A70-75B70037A3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2363" y="1343790"/>
            <a:ext cx="1115702" cy="85172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2</a:t>
            </a:r>
            <a:endParaRPr lang="x-none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D213586-4C43-3D44-8BBC-537D779ACB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159AE10C-77F0-FC45-B9CD-F1DC292A74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73664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x-none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8800D21D-4820-DD46-BE4F-22711F8F51F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31264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x-none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FFDA42-F94E-534A-842B-A47C3F5FE4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67843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x-none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3831434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97101" y="838197"/>
            <a:ext cx="8964612" cy="8530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ext slide</a:t>
            </a:r>
            <a:endParaRPr lang="x-none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49E34B46-60CE-4E4E-83A8-E47657DF86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33B75BF-1C22-0043-80DE-27C41E8F0B0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BB229FDE-5838-2549-8A7F-C7DC26582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16EFFABE-3A94-D544-889A-12AED59BDE2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C482FBEA-12A2-144F-AE69-EF53820D4D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3977" y="2346849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  <a:endParaRPr lang="en-US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344EFF9-3336-EC46-A692-2A234BA5E9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363" y="2344977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C9696876-5A37-BD4F-8C96-BD1111D4CEC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832475" y="2344977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735024CD-15EF-224E-BF88-02F411F77D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60363" y="4284663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868AB3A-F096-2540-AF41-F164BA18671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832475" y="4284663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0F291-A0E6-7544-9EA2-4DFD4003C6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97101" y="3002795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x-none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x-none" dirty="0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6BBC3D-8D0B-C243-BF20-BC4FF5CAAB8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672991" y="2346849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  <a:endParaRPr lang="en-US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05AC4CC-BCEB-4846-8465-147A1EB1FD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72991" y="3002795"/>
            <a:ext cx="1651983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x-none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x-none" dirty="0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9952AC09-3CFC-F148-A8F4-E73A5FE3969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03977" y="4291263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  <a:endParaRPr lang="en-US" dirty="0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0161F4A-50C3-264C-A222-B046510BB7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97101" y="4947209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x-none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x-none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27BA8302-402C-704C-A719-FDF6F840017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672991" y="4291263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  <a:endParaRPr lang="en-US" dirty="0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E3FBDBA-8D47-A149-A13B-07DAA55A691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72991" y="4947209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x-none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x-none" dirty="0"/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04F35FED-5463-7446-B94B-5C6AB0FDEAD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97101" y="3548002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1CD1BB7F-5F50-EA43-B9AC-61FA6101C7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197101" y="5476815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359F3C84-0FE3-3243-8295-FAACAC9CF38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69214" y="3548002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7591116-0285-B04A-85C5-54F43CE8EB6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69214" y="5476815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</p:spTree>
    <p:extLst>
      <p:ext uri="{BB962C8B-B14F-4D97-AF65-F5344CB8AC3E}">
        <p14:creationId xmlns:p14="http://schemas.microsoft.com/office/powerpoint/2010/main" val="13095983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345664"/>
            <a:ext cx="5329237" cy="863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ead text slide</a:t>
            </a:r>
            <a:endParaRPr lang="x-none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98AB53B-2108-4743-AC4F-B1874EB3FB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362" y="2339975"/>
            <a:ext cx="4429125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DE9EE9-182D-4E45-8D06-E69B6D11999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9F005A9-80EA-F448-B480-B42CA8E154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54E0486-F9F5-7A4B-8D77-90BF9D5CC61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5522A4A-85D5-7D4F-B104-DC1E4CB76B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3" y="4879307"/>
            <a:ext cx="4429125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20D27B0A-492E-FE46-BD33-E5439E4414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69325" y="1345663"/>
            <a:ext cx="2582471" cy="182298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62E12031-D7D1-794A-833C-26A9FD16281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583075" y="3325717"/>
            <a:ext cx="2582471" cy="182298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74057F-E124-9547-ABAD-B42AA5B7B37B}"/>
              </a:ext>
            </a:extLst>
          </p:cNvPr>
          <p:cNvCxnSpPr>
            <a:cxnSpLocks/>
          </p:cNvCxnSpPr>
          <p:nvPr userDrawn="1"/>
        </p:nvCxnSpPr>
        <p:spPr>
          <a:xfrm>
            <a:off x="5832475" y="1324719"/>
            <a:ext cx="2592388" cy="0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2AB1DB-971D-8747-BFAE-5CE0B3C7F392}"/>
              </a:ext>
            </a:extLst>
          </p:cNvPr>
          <p:cNvCxnSpPr>
            <a:cxnSpLocks/>
          </p:cNvCxnSpPr>
          <p:nvPr userDrawn="1"/>
        </p:nvCxnSpPr>
        <p:spPr>
          <a:xfrm>
            <a:off x="5832475" y="3318523"/>
            <a:ext cx="2592388" cy="0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7878CDD-7378-184E-8786-ED51770EBB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7239" y="3337307"/>
            <a:ext cx="4422250" cy="13928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/>
              <a:t>text</a:t>
            </a:r>
            <a:endParaRPr lang="x-none" dirty="0"/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1C9016C-BCCA-B845-8CCF-7A68B5C3D4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A93F06D-AAA5-0840-883D-A275989DDA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32474" y="3380479"/>
            <a:ext cx="2582471" cy="7597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x-none" sz="10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7DFAF5D3-F8A2-0543-AD13-8CBE1B38E6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32474" y="1436065"/>
            <a:ext cx="2582471" cy="7597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x-none" sz="10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328215018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0952E2-095A-2E44-83CA-549CAE021D6A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55B4424F-E9A4-B64A-A121-FAF1DC93A5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D66A5C7E-634F-7E4E-A121-EAA66A298BFD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DD911FC-486A-3949-80D0-AD9DA57ED5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839301"/>
            <a:ext cx="8964612" cy="7351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0F420DA-FEA2-1346-9F42-53BB8EF03F1E}"/>
              </a:ext>
            </a:extLst>
          </p:cNvPr>
          <p:cNvCxnSpPr>
            <a:cxnSpLocks/>
          </p:cNvCxnSpPr>
          <p:nvPr userDrawn="1"/>
        </p:nvCxnSpPr>
        <p:spPr>
          <a:xfrm flipV="1">
            <a:off x="2052638" y="3168650"/>
            <a:ext cx="0" cy="2951163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51633BB1-389F-1144-8C7B-97796644B04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0363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C36B5D-585F-2A4A-BA6D-D2340411F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3852863" y="3168650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4C3700DC-A432-4B43-B826-E3A8F547B9E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20978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0ADDC1-EE47-1C4E-942C-58CC5BD7757A}"/>
              </a:ext>
            </a:extLst>
          </p:cNvPr>
          <p:cNvCxnSpPr>
            <a:cxnSpLocks/>
          </p:cNvCxnSpPr>
          <p:nvPr userDrawn="1"/>
        </p:nvCxnSpPr>
        <p:spPr>
          <a:xfrm flipV="1">
            <a:off x="5689613" y="3182400"/>
            <a:ext cx="0" cy="2951163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FECF624-364C-4340-8042-F2FE8E5EC0AD}"/>
              </a:ext>
            </a:extLst>
          </p:cNvPr>
          <p:cNvCxnSpPr>
            <a:cxnSpLocks/>
          </p:cNvCxnSpPr>
          <p:nvPr userDrawn="1"/>
        </p:nvCxnSpPr>
        <p:spPr>
          <a:xfrm flipV="1">
            <a:off x="7524750" y="3182400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A6A269A-8815-054F-85B6-22982CD32CF2}"/>
              </a:ext>
            </a:extLst>
          </p:cNvPr>
          <p:cNvCxnSpPr>
            <a:cxnSpLocks/>
          </p:cNvCxnSpPr>
          <p:nvPr userDrawn="1"/>
        </p:nvCxnSpPr>
        <p:spPr>
          <a:xfrm flipV="1">
            <a:off x="9326049" y="3196151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764CD148-00F8-FE40-A2B3-8AB5A343BF3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004213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5D40EB24-AD09-7F4C-969E-B3BE68A7715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85363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FFF68ACD-A616-3844-9D66-B22C8BF8B7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8243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5B0AA984-A5D6-B742-9BB7-E99EDDCB0F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83738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14851BAA-B6AD-D245-823D-E08B4F2A8B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B5014-32B3-124F-9DB5-51C37BEAA84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0363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70E7893C-6B53-3B40-9CCB-4CD0797E061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99673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353D03F-1C7E-CE4D-B6E1-C4A4483E704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996942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37F8D4-84BD-FE42-A3A9-941C6CB1194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36252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78732E4-A209-8549-BF80-46348B740FB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75564" y="5304984"/>
            <a:ext cx="1551486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B3D9B9F-A9DA-6748-9B2E-2A7FAAF395B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472833" y="5304984"/>
            <a:ext cx="1551486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0792B98F-E053-9B41-A695-D88F2071F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363" y="1847817"/>
            <a:ext cx="8964612" cy="863600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3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44FC93D-94CE-FA4A-8AB4-A75C81CF62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723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093E4E4E-81A6-1947-A3A0-3A9BB95532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097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2906C78-7CBE-BD4F-A712-5984395875D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110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1535D0ED-197B-6943-B155-922CD6C35D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398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ABE019FB-8D6D-954A-8A33-C742E888B2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82439" y="4604899"/>
            <a:ext cx="1544611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5E7DC241-A9BE-A846-8179-1BB3D5F402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76863" y="4604899"/>
            <a:ext cx="1544611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</p:spTree>
    <p:extLst>
      <p:ext uri="{BB962C8B-B14F-4D97-AF65-F5344CB8AC3E}">
        <p14:creationId xmlns:p14="http://schemas.microsoft.com/office/powerpoint/2010/main" val="307916419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7350" y="4284664"/>
            <a:ext cx="8957738" cy="86359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60475" y="1331913"/>
            <a:ext cx="1692275" cy="1836737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x-none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33D6222-9800-8D43-9D80-0E2EC5A8DC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932363" y="1331913"/>
            <a:ext cx="1692275" cy="1836737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x-none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B33A9A-57E1-A549-8745-8EC438FB048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569326" y="1331914"/>
            <a:ext cx="1655762" cy="1836736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x-none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9B905518-2D7F-0240-A1D8-DA8BBE84B0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67350" y="5299599"/>
            <a:ext cx="8957738" cy="365125"/>
          </a:xfrm>
          <a:prstGeom prst="rect">
            <a:avLst/>
          </a:prstGeom>
        </p:spPr>
        <p:txBody>
          <a:bodyPr anchor="b"/>
          <a:lstStyle>
            <a:lvl1pPr marL="0" indent="0" algn="ctr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Description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E3C393C-3885-0E44-A85A-ECDB39A626E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E231F51B-9E6C-E842-B5E8-31A30E7C1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C9BAF930-1688-BF49-BE52-26E5F367F213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DD0DB3B0-9E26-FD42-8EF7-C67E9992F4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9812B3-4792-8040-A022-DC10D37E5D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60475" y="3319986"/>
            <a:ext cx="1685925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A6114E0-B038-3440-A1CF-C88076BA92D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939095" y="3319986"/>
            <a:ext cx="1685925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63FA3E-FD0F-E54F-B9B7-B88D361207B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75674" y="3319986"/>
            <a:ext cx="1685926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4791692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76104" y="1512042"/>
            <a:ext cx="5088916" cy="4276616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5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57055" y="1512042"/>
            <a:ext cx="5088916" cy="4276616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5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7325" y="1342991"/>
            <a:ext cx="7157512" cy="8525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451E8F1-06AC-5E48-82A9-E50EF6EE035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0363" y="4284664"/>
            <a:ext cx="3492500" cy="1835150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x-none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A3728B20-05DF-8D48-9BC9-AD82435F58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7324" y="2346851"/>
            <a:ext cx="3527425" cy="14368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95BB0516-65D5-6E44-AB28-CF1B7A61745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97326" y="4284663"/>
            <a:ext cx="7164386" cy="182383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x-none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20F3548-A10E-6A4F-B50B-684D6187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7238" y="1346497"/>
            <a:ext cx="3485622" cy="1822153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lang="en-GB" sz="2400" b="0" i="0" smtClean="0">
                <a:effectLst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,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x-none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B81A5F8-97CA-E243-8010-1A3C14C3482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9213" y="2346851"/>
            <a:ext cx="3485624" cy="14368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x-none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033578-7F9F-3F4D-A7B9-83608E33B45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D141FB2-ACC8-F840-9FFF-5DFEDC6B5E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7FEE8271-349B-7F46-84E5-57DB4F6BE1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31" name="Slide Number Placeholder 1">
            <a:extLst>
              <a:ext uri="{FF2B5EF4-FFF2-40B4-BE49-F238E27FC236}">
                <a16:creationId xmlns:a16="http://schemas.microsoft.com/office/drawing/2014/main" id="{10F2E919-487E-A444-B61C-A3EBE0C04671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091F0F-CB18-734E-8DE8-87F3F185F3F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0363" y="3801979"/>
            <a:ext cx="1685925" cy="319845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3DC2EAD-6ECD-CF4D-B0A3-7D0A6738B9B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996943" y="3801979"/>
            <a:ext cx="1685925" cy="319845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9406157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940" y="1187451"/>
            <a:ext cx="3486922" cy="4932344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x-none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33D6222-9800-8D43-9D80-0E2EC5A8DC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97325" y="1187451"/>
            <a:ext cx="3527426" cy="493235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x-none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B784A6F-340A-2941-87C9-A4B20857D7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9213" y="1187451"/>
            <a:ext cx="349250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x-none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C246C5F-8780-7248-AE97-EF179949CD2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6088" y="2346850"/>
            <a:ext cx="3492500" cy="28014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x-none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C7CCEA-8174-CC41-9238-A0D3EA01F3F5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4845C9DD-5C7A-874F-8368-FFFC6465A6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591D277-AA9C-EC41-A110-AE8469C88B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21F144B7-C152-F244-9A00-75D92A833EF2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7621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418BD92-84AF-4747-9337-9C8E4022A6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A740B27C-16E1-4746-A632-115AF5F043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0"/>
            <a:ext cx="11522075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x-none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4E81BE-004C-EA49-818C-F9E3C32F7F47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C15F058-CF3B-5144-9FA3-CA10DA0FBBE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740A59D-9C0D-5849-B026-0D997150F0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615527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EBDE60C4-C2B7-8C41-806E-0D5A5DEDAFCF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360363" y="1187449"/>
            <a:ext cx="10801350" cy="469582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>
                <a:solidFill>
                  <a:srgbClr val="19212C"/>
                </a:solidFill>
              </a:defRPr>
            </a:lvl1pPr>
          </a:lstStyle>
          <a:p>
            <a:r>
              <a:rPr lang="en-US" dirty="0"/>
              <a:t>Table</a:t>
            </a:r>
            <a:endParaRPr lang="x-none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B12095EB-C6DC-DF45-A28C-47AC627362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17BDF6-19DC-4641-BBD7-933EA5F23B01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410309C-CE1A-8746-B6F9-73B9768E4F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A7D38F3-BC5B-DA45-AF45-B017008F9BDE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73368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BDA20B8B-578E-AE4B-ABDA-B36BB0CC5BA4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60363" y="1187454"/>
            <a:ext cx="10801350" cy="4695820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>
                <a:solidFill>
                  <a:srgbClr val="7F8183"/>
                </a:solidFill>
              </a:defRPr>
            </a:lvl1pPr>
          </a:lstStyle>
          <a:p>
            <a:endParaRPr lang="x-none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9EA62CA-D0D2-094E-ABA2-DCC2F45F3120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481870C3-E2C3-1B41-92AD-2CF0644DEA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E135D83-F511-CC4E-9D94-E0B2E4F611E1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C64C08BD-A6CB-3142-A331-2D2C6916DE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326493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BDA20B8B-578E-AE4B-ABDA-B36BB0CC5BA4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60363" y="1194326"/>
            <a:ext cx="7164387" cy="46958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/>
            </a:lvl1pPr>
          </a:lstStyle>
          <a:p>
            <a:endParaRPr lang="x-none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9213" y="1208076"/>
            <a:ext cx="349250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x-none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6088" y="2341224"/>
            <a:ext cx="3492500" cy="280703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x-none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375452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474A4320-3C1A-114D-AA60-FA85EE7C27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0597" y="5561211"/>
            <a:ext cx="1994866" cy="848542"/>
          </a:xfrm>
          <a:prstGeom prst="rect">
            <a:avLst/>
          </a:prstGeom>
        </p:spPr>
        <p:txBody>
          <a:bodyPr lIns="180000" rIns="18000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Facebook.com</a:t>
            </a:r>
            <a:r>
              <a:rPr lang="en-US" dirty="0"/>
              <a:t>/</a:t>
            </a:r>
            <a:r>
              <a:rPr lang="en-US" dirty="0" err="1"/>
              <a:t>omk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instagram.com</a:t>
            </a:r>
            <a:r>
              <a:rPr lang="en-US" dirty="0"/>
              <a:t>/</a:t>
            </a:r>
            <a:r>
              <a:rPr lang="en-US" dirty="0" err="1"/>
              <a:t>oml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vk.com</a:t>
            </a:r>
            <a:r>
              <a:rPr lang="en-US" dirty="0"/>
              <a:t>/</a:t>
            </a:r>
            <a:r>
              <a:rPr lang="en-US" dirty="0" err="1"/>
              <a:t>omk_official</a:t>
            </a:r>
            <a:endParaRPr lang="x-none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8082DBEF-CBAD-B54A-A0D6-2705122AF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93973" y="2203618"/>
            <a:ext cx="7638318" cy="1110235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Спасибо за внимание!</a:t>
            </a:r>
            <a:endParaRPr lang="x-none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44C52D-F828-E147-91DD-C0937F7A31CE}"/>
              </a:ext>
            </a:extLst>
          </p:cNvPr>
          <p:cNvSpPr txBox="1"/>
          <p:nvPr userDrawn="1"/>
        </p:nvSpPr>
        <p:spPr>
          <a:xfrm>
            <a:off x="2113489" y="5456641"/>
            <a:ext cx="838150" cy="753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Телефон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чта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Сай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26B54D-F66A-C344-AD13-EBD8F068DB36}"/>
              </a:ext>
            </a:extLst>
          </p:cNvPr>
          <p:cNvSpPr txBox="1"/>
          <p:nvPr userDrawn="1"/>
        </p:nvSpPr>
        <p:spPr>
          <a:xfrm>
            <a:off x="4827099" y="5511641"/>
            <a:ext cx="1089772" cy="292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дписаться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A8121F5-98F3-AC40-97DF-13F1C657C0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65464" y="5561211"/>
            <a:ext cx="3405378" cy="881083"/>
          </a:xfrm>
          <a:prstGeom prst="rect">
            <a:avLst/>
          </a:prstGeom>
        </p:spPr>
        <p:txBody>
          <a:bodyPr lIns="180000" rIns="18000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twitter.com</a:t>
            </a:r>
            <a:r>
              <a:rPr lang="en-US" dirty="0"/>
              <a:t>/</a:t>
            </a:r>
            <a:r>
              <a:rPr lang="en-US" dirty="0" err="1"/>
              <a:t>omkru</a:t>
            </a:r>
            <a:endParaRPr lang="en-US" dirty="0"/>
          </a:p>
          <a:p>
            <a:pPr lvl="0"/>
            <a:r>
              <a:rPr lang="en-US" dirty="0" err="1"/>
              <a:t>youtube.com</a:t>
            </a:r>
            <a:r>
              <a:rPr lang="en-US" dirty="0"/>
              <a:t>/user/</a:t>
            </a:r>
            <a:r>
              <a:rPr lang="en-US" dirty="0" err="1"/>
              <a:t>OMKPipeCompany</a:t>
            </a:r>
            <a:endParaRPr lang="x-none" dirty="0"/>
          </a:p>
        </p:txBody>
      </p:sp>
      <p:grpSp>
        <p:nvGrpSpPr>
          <p:cNvPr id="15" name="Graphic 2">
            <a:extLst>
              <a:ext uri="{FF2B5EF4-FFF2-40B4-BE49-F238E27FC236}">
                <a16:creationId xmlns:a16="http://schemas.microsoft.com/office/drawing/2014/main" id="{40F11E44-1AF8-A041-B789-CADF7AA9753D}"/>
              </a:ext>
            </a:extLst>
          </p:cNvPr>
          <p:cNvGrpSpPr/>
          <p:nvPr userDrawn="1"/>
        </p:nvGrpSpPr>
        <p:grpSpPr>
          <a:xfrm>
            <a:off x="344949" y="2327053"/>
            <a:ext cx="792163" cy="841598"/>
            <a:chOff x="4522787" y="1925637"/>
            <a:chExt cx="2472690" cy="2627001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6D2B971-C16C-8F4A-B71D-1FCAFEF220DB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9B177FA-B9C4-0348-9234-14014F48B60B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CE2FDDC-7DE1-8441-9AD1-C61F46339ECA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grpSp>
        <p:nvGrpSpPr>
          <p:cNvPr id="22" name="Graphic 13">
            <a:extLst>
              <a:ext uri="{FF2B5EF4-FFF2-40B4-BE49-F238E27FC236}">
                <a16:creationId xmlns:a16="http://schemas.microsoft.com/office/drawing/2014/main" id="{AA443365-44DD-6049-B8C1-DC81D1B11A4E}"/>
              </a:ext>
            </a:extLst>
          </p:cNvPr>
          <p:cNvGrpSpPr/>
          <p:nvPr userDrawn="1"/>
        </p:nvGrpSpPr>
        <p:grpSpPr>
          <a:xfrm>
            <a:off x="322183" y="5445861"/>
            <a:ext cx="837693" cy="720718"/>
            <a:chOff x="1237542" y="5445861"/>
            <a:chExt cx="837693" cy="720718"/>
          </a:xfrm>
        </p:grpSpPr>
        <p:grpSp>
          <p:nvGrpSpPr>
            <p:cNvPr id="23" name="Graphic 13">
              <a:extLst>
                <a:ext uri="{FF2B5EF4-FFF2-40B4-BE49-F238E27FC236}">
                  <a16:creationId xmlns:a16="http://schemas.microsoft.com/office/drawing/2014/main" id="{5FBEBAB4-8198-0149-BC9E-EA85E807390A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53F6BECB-5E13-9A47-908B-D8DDA9F616AF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951EE360-1C01-BB42-9A9C-1A019F76AA81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16F6205D-01CB-4245-AF73-08FBC725C314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73E37A58-7A04-3D4C-B1C2-8DE0C7DC770C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A5FB3A17-DE30-EC46-85FD-34B2B2EB33B8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A57EE60-CECA-0745-A9C4-EE0F6B57CD75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C1D8118-E478-6F49-92CE-6359D0AC6C1A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5B77BF7-A718-7F46-B83C-AF7018415C50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918E6DD-6E3E-8943-88BC-027320426CAB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45310B9-8CA4-C849-B2E3-16871DC771FC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1" name="Graphic 13">
              <a:extLst>
                <a:ext uri="{FF2B5EF4-FFF2-40B4-BE49-F238E27FC236}">
                  <a16:creationId xmlns:a16="http://schemas.microsoft.com/office/drawing/2014/main" id="{68D06D50-A541-C448-B5A3-276B64E2D4C1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07959E70-C873-A843-8416-EFC12CA91A5C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AEDA4857-1DEE-9942-8A97-47957F90C298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0F4E977-DC47-CD42-90E3-8E69C5C4F26F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33" name="Graphic 13">
              <a:extLst>
                <a:ext uri="{FF2B5EF4-FFF2-40B4-BE49-F238E27FC236}">
                  <a16:creationId xmlns:a16="http://schemas.microsoft.com/office/drawing/2014/main" id="{AFB85BBB-793A-B74B-8260-45E6030D7FD9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45005C72-3836-864B-AF7B-93A10AAB71EC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2D3332B-B7D8-9C48-9592-EC48FF7DA69E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210E65D4-A347-5048-AABF-494A7E316FDF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85F68474-1C77-FC4A-A55B-D80FB770F4C3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397C7BE-F388-7D4A-9EC7-D85F3562CAB6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C5DAA932-1209-AA4C-BCA7-A81CC2B627CA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3B05C48-04C5-AB40-8AA6-D709FA4E3EBE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F6D605A-1F55-E447-831C-1BDAD4AA188C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1FC9B31-E37F-BE4B-A0BF-EE73657BE81F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D78A59F-65ED-154F-9BB0-F3D1A7A2D934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grpSp>
          <p:nvGrpSpPr>
            <p:cNvPr id="40" name="Graphic 13">
              <a:extLst>
                <a:ext uri="{FF2B5EF4-FFF2-40B4-BE49-F238E27FC236}">
                  <a16:creationId xmlns:a16="http://schemas.microsoft.com/office/drawing/2014/main" id="{A3412EFB-25E5-F24C-9AA5-A8B3CDCDE57F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54C67D7-4E2A-194D-8C27-C5B336C4882D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E4D661F3-775B-484D-9B38-07EB41236708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x-none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62245DA-09BF-0D40-B5B8-6858F4AEEA37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8EE32939-128C-A04C-8F2B-03BD54544DBA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96A39E2E-C03C-5343-AA11-E77BC8EC94E4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FEF830E-047D-F44F-BD4C-7111A03A4967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34DED5D-3D96-084B-84A2-FB271F0EB689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D18C1D5-F984-8B4E-A0BF-38700579D3AC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x-none"/>
            </a:p>
          </p:txBody>
        </p:sp>
      </p:grp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8B11A7-F13B-A341-B3D6-5CBDA7491E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21057" y="5456641"/>
            <a:ext cx="1768431" cy="953112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lvl="0"/>
            <a:r>
              <a:rPr lang="en-GB" dirty="0"/>
              <a:t>(495) 231-77-71</a:t>
            </a:r>
          </a:p>
          <a:p>
            <a:pPr lvl="0"/>
            <a:r>
              <a:rPr lang="en-GB" dirty="0" err="1"/>
              <a:t>press@omk.ru</a:t>
            </a:r>
            <a:endParaRPr lang="en-GB" dirty="0"/>
          </a:p>
          <a:p>
            <a:pPr lvl="0"/>
            <a:r>
              <a:rPr lang="en-GB" dirty="0" err="1"/>
              <a:t>www.omk.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6437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9 Сопровождающий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208076"/>
            <a:ext cx="1080135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x-none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38" y="2341223"/>
            <a:ext cx="10801350" cy="36303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0602916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.14 Фото и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69212" y="1187451"/>
            <a:ext cx="3486922" cy="4932344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3000"/>
            </a:lvl1pPr>
          </a:lstStyle>
          <a:p>
            <a:r>
              <a:rPr lang="ru-RU" dirty="0"/>
              <a:t>Место для фото</a:t>
            </a:r>
            <a:endParaRPr lang="x-none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B784A6F-340A-2941-87C9-A4B20857D7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16014" y="1187453"/>
            <a:ext cx="6401862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5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C246C5F-8780-7248-AE97-EF179949CD2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22890" y="2346849"/>
            <a:ext cx="6401862" cy="28014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C7CCEA-8174-CC41-9238-A0D3EA01F3F5}"/>
              </a:ext>
            </a:extLst>
          </p:cNvPr>
          <p:cNvCxnSpPr>
            <a:cxnSpLocks/>
          </p:cNvCxnSpPr>
          <p:nvPr userDrawn="1"/>
        </p:nvCxnSpPr>
        <p:spPr>
          <a:xfrm>
            <a:off x="360362" y="356045"/>
            <a:ext cx="10801351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4845C9DD-5C7A-874F-8368-FFFC6465A6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8" y="371977"/>
            <a:ext cx="2447926" cy="27225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591D277-AA9C-EC41-A110-AE8469C88B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40" y="5971626"/>
            <a:ext cx="1692275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21F144B7-C152-F244-9A00-75D92A833EF2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6"/>
            <a:ext cx="663301" cy="27225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4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4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05638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1921" indent="0" algn="ctr">
              <a:buNone/>
              <a:defRPr sz="1890"/>
            </a:lvl2pPr>
            <a:lvl3pPr marL="863843" indent="0" algn="ctr">
              <a:buNone/>
              <a:defRPr sz="1701"/>
            </a:lvl3pPr>
            <a:lvl4pPr marL="1295764" indent="0" algn="ctr">
              <a:buNone/>
              <a:defRPr sz="1512"/>
            </a:lvl4pPr>
            <a:lvl5pPr marL="1727685" indent="0" algn="ctr">
              <a:buNone/>
              <a:defRPr sz="1512"/>
            </a:lvl5pPr>
            <a:lvl6pPr marL="2159606" indent="0" algn="ctr">
              <a:buNone/>
              <a:defRPr sz="1512"/>
            </a:lvl6pPr>
            <a:lvl7pPr marL="2591528" indent="0" algn="ctr">
              <a:buNone/>
              <a:defRPr sz="1512"/>
            </a:lvl7pPr>
            <a:lvl8pPr marL="3023449" indent="0" algn="ctr">
              <a:buNone/>
              <a:defRPr sz="1512"/>
            </a:lvl8pPr>
            <a:lvl9pPr marL="3455370" indent="0" algn="ctr">
              <a:buNone/>
              <a:defRPr sz="1512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320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6072" indent="0">
              <a:buNone/>
              <a:defRPr sz="2500" b="1"/>
            </a:lvl2pPr>
            <a:lvl3pPr marL="1152144" indent="0">
              <a:buNone/>
              <a:defRPr sz="2300" b="1"/>
            </a:lvl3pPr>
            <a:lvl4pPr marL="1728216" indent="0">
              <a:buNone/>
              <a:defRPr sz="2000" b="1"/>
            </a:lvl4pPr>
            <a:lvl5pPr marL="2304288" indent="0">
              <a:buNone/>
              <a:defRPr sz="2000" b="1"/>
            </a:lvl5pPr>
            <a:lvl6pPr marL="2880360" indent="0">
              <a:buNone/>
              <a:defRPr sz="2000" b="1"/>
            </a:lvl6pPr>
            <a:lvl7pPr marL="3456432" indent="0">
              <a:buNone/>
              <a:defRPr sz="2000" b="1"/>
            </a:lvl7pPr>
            <a:lvl8pPr marL="4032504" indent="0">
              <a:buNone/>
              <a:defRPr sz="2000" b="1"/>
            </a:lvl8pPr>
            <a:lvl9pPr marL="4608576" indent="0">
              <a:buNone/>
              <a:defRPr sz="20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76104" y="2055055"/>
            <a:ext cx="5090917" cy="3733601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56" y="1450540"/>
            <a:ext cx="5092917" cy="604516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6072" indent="0">
              <a:buNone/>
              <a:defRPr sz="2500" b="1"/>
            </a:lvl2pPr>
            <a:lvl3pPr marL="1152144" indent="0">
              <a:buNone/>
              <a:defRPr sz="2300" b="1"/>
            </a:lvl3pPr>
            <a:lvl4pPr marL="1728216" indent="0">
              <a:buNone/>
              <a:defRPr sz="2000" b="1"/>
            </a:lvl4pPr>
            <a:lvl5pPr marL="2304288" indent="0">
              <a:buNone/>
              <a:defRPr sz="2000" b="1"/>
            </a:lvl5pPr>
            <a:lvl6pPr marL="2880360" indent="0">
              <a:buNone/>
              <a:defRPr sz="2000" b="1"/>
            </a:lvl6pPr>
            <a:lvl7pPr marL="3456432" indent="0">
              <a:buNone/>
              <a:defRPr sz="2000" b="1"/>
            </a:lvl7pPr>
            <a:lvl8pPr marL="4032504" indent="0">
              <a:buNone/>
              <a:defRPr sz="2000" b="1"/>
            </a:lvl8pPr>
            <a:lvl9pPr marL="4608576" indent="0">
              <a:buNone/>
              <a:defRPr sz="20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853056" y="2055055"/>
            <a:ext cx="5092917" cy="3733601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1753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1" y="1615546"/>
            <a:ext cx="9937790" cy="2695572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1" y="4336619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1921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3843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5764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768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5960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152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3449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537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053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1339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3" y="345011"/>
            <a:ext cx="9937790" cy="125253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5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5" y="2367064"/>
            <a:ext cx="4874377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1921" indent="0">
              <a:buNone/>
              <a:defRPr sz="1890" b="1"/>
            </a:lvl2pPr>
            <a:lvl3pPr marL="863843" indent="0">
              <a:buNone/>
              <a:defRPr sz="1701" b="1"/>
            </a:lvl3pPr>
            <a:lvl4pPr marL="1295764" indent="0">
              <a:buNone/>
              <a:defRPr sz="1512" b="1"/>
            </a:lvl4pPr>
            <a:lvl5pPr marL="1727685" indent="0">
              <a:buNone/>
              <a:defRPr sz="1512" b="1"/>
            </a:lvl5pPr>
            <a:lvl6pPr marL="2159606" indent="0">
              <a:buNone/>
              <a:defRPr sz="1512" b="1"/>
            </a:lvl6pPr>
            <a:lvl7pPr marL="2591528" indent="0">
              <a:buNone/>
              <a:defRPr sz="1512" b="1"/>
            </a:lvl7pPr>
            <a:lvl8pPr marL="3023449" indent="0">
              <a:buNone/>
              <a:defRPr sz="1512" b="1"/>
            </a:lvl8pPr>
            <a:lvl9pPr marL="3455370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700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9319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1123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451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5" y="432013"/>
            <a:ext cx="3716169" cy="1512041"/>
          </a:xfrm>
        </p:spPr>
        <p:txBody>
          <a:bodyPr anchor="b"/>
          <a:lstStyle>
            <a:lvl1pPr>
              <a:defRPr sz="3024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383" y="933027"/>
            <a:ext cx="5833050" cy="4605124"/>
          </a:xfrm>
        </p:spPr>
        <p:txBody>
          <a:bodyPr/>
          <a:lstStyle>
            <a:lvl1pPr marL="0" indent="0">
              <a:buNone/>
              <a:defRPr sz="3024"/>
            </a:lvl1pPr>
            <a:lvl2pPr marL="431921" indent="0">
              <a:buNone/>
              <a:defRPr sz="2646"/>
            </a:lvl2pPr>
            <a:lvl3pPr marL="863843" indent="0">
              <a:buNone/>
              <a:defRPr sz="2268"/>
            </a:lvl3pPr>
            <a:lvl4pPr marL="1295764" indent="0">
              <a:buNone/>
              <a:defRPr sz="1890"/>
            </a:lvl4pPr>
            <a:lvl5pPr marL="1727685" indent="0">
              <a:buNone/>
              <a:defRPr sz="1890"/>
            </a:lvl5pPr>
            <a:lvl6pPr marL="2159606" indent="0">
              <a:buNone/>
              <a:defRPr sz="1890"/>
            </a:lvl6pPr>
            <a:lvl7pPr marL="2591528" indent="0">
              <a:buNone/>
              <a:defRPr sz="1890"/>
            </a:lvl7pPr>
            <a:lvl8pPr marL="3023449" indent="0">
              <a:buNone/>
              <a:defRPr sz="1890"/>
            </a:lvl8pPr>
            <a:lvl9pPr marL="3455370" indent="0">
              <a:buNone/>
              <a:defRPr sz="189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645" y="1944052"/>
            <a:ext cx="3716169" cy="3601598"/>
          </a:xfrm>
        </p:spPr>
        <p:txBody>
          <a:bodyPr/>
          <a:lstStyle>
            <a:lvl1pPr marL="0" indent="0">
              <a:buNone/>
              <a:defRPr sz="1512"/>
            </a:lvl1pPr>
            <a:lvl2pPr marL="431921" indent="0">
              <a:buNone/>
              <a:defRPr sz="1323"/>
            </a:lvl2pPr>
            <a:lvl3pPr marL="863843" indent="0">
              <a:buNone/>
              <a:defRPr sz="1134"/>
            </a:lvl3pPr>
            <a:lvl4pPr marL="1295764" indent="0">
              <a:buNone/>
              <a:defRPr sz="945"/>
            </a:lvl4pPr>
            <a:lvl5pPr marL="1727685" indent="0">
              <a:buNone/>
              <a:defRPr sz="945"/>
            </a:lvl5pPr>
            <a:lvl6pPr marL="2159606" indent="0">
              <a:buNone/>
              <a:defRPr sz="945"/>
            </a:lvl6pPr>
            <a:lvl7pPr marL="2591528" indent="0">
              <a:buNone/>
              <a:defRPr sz="945"/>
            </a:lvl7pPr>
            <a:lvl8pPr marL="3023449" indent="0">
              <a:buNone/>
              <a:defRPr sz="945"/>
            </a:lvl8pPr>
            <a:lvl9pPr marL="3455370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9400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936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5" y="345009"/>
            <a:ext cx="2484447" cy="549164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345009"/>
            <a:ext cx="7309316" cy="549164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451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27439" y="67511"/>
            <a:ext cx="9180935" cy="34898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071050" y="6172534"/>
            <a:ext cx="451028" cy="151426"/>
          </a:xfrm>
        </p:spPr>
        <p:txBody>
          <a:bodyPr/>
          <a:lstStyle/>
          <a:p>
            <a:fld id="{1E5EB7E5-F709-4EF6-8A34-B7FBD60740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577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">
          <p15:clr>
            <a:srgbClr val="FBAE40"/>
          </p15:clr>
        </p15:guide>
        <p15:guide id="2" pos="7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2749" y="97206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55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9BCE9F6-2934-314B-BF78-430EC028C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0375" y="5356497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en-RU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E236611-2C19-7C49-A7D4-5478F7BB81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en-RU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935039F0-13FC-3745-B58A-56E53B716F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4625" y="3284412"/>
            <a:ext cx="6157796" cy="972150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RU" dirty="0"/>
          </a:p>
        </p:txBody>
      </p:sp>
      <p:grpSp>
        <p:nvGrpSpPr>
          <p:cNvPr id="8" name="Graphic 2">
            <a:extLst>
              <a:ext uri="{FF2B5EF4-FFF2-40B4-BE49-F238E27FC236}">
                <a16:creationId xmlns:a16="http://schemas.microsoft.com/office/drawing/2014/main" id="{D6D8F973-D1EF-5E4E-BB8B-634825B411FA}"/>
              </a:ext>
            </a:extLst>
          </p:cNvPr>
          <p:cNvGrpSpPr/>
          <p:nvPr userDrawn="1"/>
        </p:nvGrpSpPr>
        <p:grpSpPr>
          <a:xfrm>
            <a:off x="1267366" y="2327053"/>
            <a:ext cx="792163" cy="841598"/>
            <a:chOff x="4522787" y="1925637"/>
            <a:chExt cx="2472690" cy="2627001"/>
          </a:xfrm>
        </p:grpSpPr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EB7C66DE-BB92-9B43-80E1-81CAC5A6BA7D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0F69C82-6455-834F-8DC3-B7DD6441B7A8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C15D4B86-70E0-6D4C-A3AA-BE3BE305C020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grpSp>
        <p:nvGrpSpPr>
          <p:cNvPr id="2" name="Graphic 13">
            <a:extLst>
              <a:ext uri="{FF2B5EF4-FFF2-40B4-BE49-F238E27FC236}">
                <a16:creationId xmlns:a16="http://schemas.microsoft.com/office/drawing/2014/main" id="{07D8688A-A1C6-824F-9702-4CAFEFF7A0AA}"/>
              </a:ext>
            </a:extLst>
          </p:cNvPr>
          <p:cNvGrpSpPr/>
          <p:nvPr/>
        </p:nvGrpSpPr>
        <p:grpSpPr>
          <a:xfrm>
            <a:off x="1237542" y="5445861"/>
            <a:ext cx="837693" cy="720718"/>
            <a:chOff x="1237542" y="5445861"/>
            <a:chExt cx="837693" cy="720718"/>
          </a:xfrm>
        </p:grpSpPr>
        <p:grpSp>
          <p:nvGrpSpPr>
            <p:cNvPr id="3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3FB05AE4-1AC5-E644-BF98-DE6793E4DE68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07C0C97F-A1B1-824D-AD1D-C268F9629792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98E58C74-8DEB-FD44-84E7-3F5CDF70C428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B7564595-5E22-8641-B588-924F73BADF4C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3AC51489-6AE5-B24B-AC3B-E1E38FC999B9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6F85AE05-D717-1B44-96DC-830799FD25EC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3821BAE-ED59-EF49-8475-A4760287AA34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5C37FE3-3612-AF46-B14A-4E9AC2F3058A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53041A46-B09F-B442-949D-446DFBE72AC5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3ADF56F6-FF94-DB49-A1A5-A74AC9608AC7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2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F3DBE123-7DDD-B049-91F1-6B23E00BCE77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D89E6EF4-F77E-4D4C-9728-8808DAF95249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287936-BCDB-254B-A341-5566F1B56D4D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7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94FC07B3-E533-4C4E-9701-4D5362465C05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C2BC0025-EF4E-604A-B099-C6EF6426E625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01732E20-25F0-BA4F-8423-6E3C4828BFFC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059CE7F9-043F-2849-B383-24D7A7E06010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F0221F01-9875-A04B-990D-0A20B287AADD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77FDCD99-4B6E-A043-BB4E-71B448C58EFF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9F88397-669E-CC40-984A-518579092475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B7EE570-C5D2-C241-8EE7-718941478E48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0697A2F6-3279-4E42-B281-0DAF218F497F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89A9CC34-F2CB-DA43-84FC-102D6C342923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8" name="Graphic 13">
              <a:extLst>
                <a:ext uri="{FF2B5EF4-FFF2-40B4-BE49-F238E27FC236}">
                  <a16:creationId xmlns:a16="http://schemas.microsoft.com/office/drawing/2014/main" id="{07D8688A-A1C6-824F-9702-4CAFEFF7A0AA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2E98A8DD-9977-C940-817A-9C02F17BECE4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8C6780E2-6CE2-BE48-A223-F1BECDCB9E65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79C8422-73CC-E442-8BFD-28563DA6B8D7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EA455DA5-2853-E840-8124-C7F1466F2A9B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2ACC8BE-4AB8-E645-9D0F-C4CC3134B68E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1CA3E67C-098E-0948-A982-BC9E6402B975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5235B930-F4AF-9044-9C2F-93969269A01D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0B5BD2DA-8C99-714A-8DD4-0648E4667B1A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</p:spTree>
    <p:extLst>
      <p:ext uri="{BB962C8B-B14F-4D97-AF65-F5344CB8AC3E}">
        <p14:creationId xmlns:p14="http://schemas.microsoft.com/office/powerpoint/2010/main" val="24053566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4A8BE4C6-EB74-5043-82FF-ED6D3045D29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/>
            </a:lvl1pPr>
          </a:lstStyle>
          <a:p>
            <a:endParaRPr lang="en-RU"/>
          </a:p>
        </p:txBody>
      </p: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952749" y="97206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55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49BCE9F6-2934-314B-BF78-430EC028CA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90375" y="5356497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en-RU" dirty="0"/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E236611-2C19-7C49-A7D4-5478F7BB81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en-RU" dirty="0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935039F0-13FC-3745-B58A-56E53B716F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04625" y="3284412"/>
            <a:ext cx="6157796" cy="972150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endParaRPr lang="en-RU" dirty="0"/>
          </a:p>
        </p:txBody>
      </p:sp>
      <p:grpSp>
        <p:nvGrpSpPr>
          <p:cNvPr id="18" name="Graphic 2">
            <a:extLst>
              <a:ext uri="{FF2B5EF4-FFF2-40B4-BE49-F238E27FC236}">
                <a16:creationId xmlns:a16="http://schemas.microsoft.com/office/drawing/2014/main" id="{392D98F0-3E36-B746-92B3-99D11C67E928}"/>
              </a:ext>
            </a:extLst>
          </p:cNvPr>
          <p:cNvGrpSpPr/>
          <p:nvPr userDrawn="1"/>
        </p:nvGrpSpPr>
        <p:grpSpPr>
          <a:xfrm>
            <a:off x="1267366" y="2327053"/>
            <a:ext cx="792163" cy="841598"/>
            <a:chOff x="4522787" y="1925637"/>
            <a:chExt cx="2472690" cy="2627001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EB9BCF5C-41AF-264F-8C11-429785FFDF69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80272C9C-4A20-BB4D-B41E-195AC4F13D6D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2211A8E0-0D4A-F448-A678-4DE133CCC8D9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grpSp>
        <p:nvGrpSpPr>
          <p:cNvPr id="22" name="Graphic 13">
            <a:extLst>
              <a:ext uri="{FF2B5EF4-FFF2-40B4-BE49-F238E27FC236}">
                <a16:creationId xmlns:a16="http://schemas.microsoft.com/office/drawing/2014/main" id="{F5BEF2D1-743B-3948-B737-F9549BF0243E}"/>
              </a:ext>
            </a:extLst>
          </p:cNvPr>
          <p:cNvGrpSpPr/>
          <p:nvPr userDrawn="1"/>
        </p:nvGrpSpPr>
        <p:grpSpPr>
          <a:xfrm>
            <a:off x="1237542" y="5445861"/>
            <a:ext cx="837693" cy="720718"/>
            <a:chOff x="1237542" y="5445861"/>
            <a:chExt cx="837693" cy="720718"/>
          </a:xfrm>
        </p:grpSpPr>
        <p:grpSp>
          <p:nvGrpSpPr>
            <p:cNvPr id="24" name="Graphic 13">
              <a:extLst>
                <a:ext uri="{FF2B5EF4-FFF2-40B4-BE49-F238E27FC236}">
                  <a16:creationId xmlns:a16="http://schemas.microsoft.com/office/drawing/2014/main" id="{A81CBB0C-3DBD-D24E-8417-883F9DD68891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762DD8C3-35E5-434B-9D71-9C5C4D339945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4A904276-BA85-A74D-9691-DD19D10E826E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E1850322-FA09-0C40-B8AF-87FECBC8B398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0005A2E5-AE64-F647-9860-4C90ECF12A1E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AE3555D9-27FB-5F49-9761-AE6DED37A7FD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25" name="Freeform 24">
              <a:extLst>
                <a:ext uri="{FF2B5EF4-FFF2-40B4-BE49-F238E27FC236}">
                  <a16:creationId xmlns:a16="http://schemas.microsoft.com/office/drawing/2014/main" id="{2DF8BBB9-43C0-5340-BA63-C4215310B614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FEB02A76-2CA2-4940-B211-4B76587F730D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615D367-45A5-D741-B403-75824813B360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4EFE0182-0F7E-E440-9F38-7F6A6D0A5248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FC4F3CAD-D4EC-D04A-AB16-B7E0CBFE8147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0" name="Graphic 13">
              <a:extLst>
                <a:ext uri="{FF2B5EF4-FFF2-40B4-BE49-F238E27FC236}">
                  <a16:creationId xmlns:a16="http://schemas.microsoft.com/office/drawing/2014/main" id="{9E58D493-46A1-F04D-B91B-2102D960FDFE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DE353E8B-52BE-3841-9C75-07A3097861EF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BCFB102D-2526-6147-8518-3876737E3B72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79D1E9F0-39F8-9F44-8C13-7278B90A5A55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2" name="Graphic 13">
              <a:extLst>
                <a:ext uri="{FF2B5EF4-FFF2-40B4-BE49-F238E27FC236}">
                  <a16:creationId xmlns:a16="http://schemas.microsoft.com/office/drawing/2014/main" id="{EB62BF0B-A81A-A44F-AE22-88162C3844CD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A2E89EF2-ED59-D544-B823-BC59B0DCABE9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C8E47D0C-8741-8B49-9ED1-24ACD2050C8E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369E8573-BBD4-6C45-A542-DD563484DACE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BF3BA814-018D-A143-9911-CD40CA9B619D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5FD52627-DEB5-9E49-9783-F91E48C0C719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F64B53A7-1C62-0741-B3C6-8C727DF601CA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0FE8553B-705A-8946-943B-B4040C6E5182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915C41A6-8644-654E-BFD5-33855C6C37D2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16CEE1F9-E449-3647-A184-C21EA6155EA6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036E6186-0105-E64A-8F4D-E90DC776E3BC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9" name="Graphic 13">
              <a:extLst>
                <a:ext uri="{FF2B5EF4-FFF2-40B4-BE49-F238E27FC236}">
                  <a16:creationId xmlns:a16="http://schemas.microsoft.com/office/drawing/2014/main" id="{5FBDBB02-33F0-E145-BD7C-F1E09FAEE3A4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F0FECE7F-8435-6044-B8FB-533A792EF2A6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FA796D1A-66D1-CB48-8C0F-A82179D510D8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ED918880-8324-C548-8AEE-314114EB481D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55E19C41-400A-C242-8A6E-11EAC64B30A5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137CFA86-F04E-2744-A8C9-FA04A16062EA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1C592BFF-770B-F14D-B62F-70E6DC318FA9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C14E56D-D5A9-8B4C-89D7-0E81073AB749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D1C3A2D8-A269-6A47-A139-5A656E0B37D0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</p:spTree>
    <p:extLst>
      <p:ext uri="{BB962C8B-B14F-4D97-AF65-F5344CB8AC3E}">
        <p14:creationId xmlns:p14="http://schemas.microsoft.com/office/powerpoint/2010/main" val="9702912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E22FD203-2C1F-4E4C-9734-9F16B1997A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52750" y="4289609"/>
            <a:ext cx="7308850" cy="516147"/>
          </a:xfrm>
          <a:prstGeom prst="rect">
            <a:avLst/>
          </a:prstGeom>
        </p:spPr>
        <p:txBody>
          <a:bodyPr lIns="180000" rIns="86400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0" i="0" smtClean="0">
                <a:solidFill>
                  <a:srgbClr val="19212C"/>
                </a:solidFill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ru-RU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ru-RU" dirty="0"/>
              <a:t> </a:t>
            </a:r>
            <a:endParaRPr lang="en-RU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99DCB56B-BDDC-0847-BBF5-0FBB08D48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18373" y="5349622"/>
            <a:ext cx="367134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en-RU" dirty="0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F6500C01-2B19-2F42-91FE-7C84F669F2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36807" y="5349622"/>
            <a:ext cx="4572000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en-RU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86D0E17-017B-CF40-9CCB-7F9B1B25165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52749" y="985810"/>
            <a:ext cx="8208963" cy="2339852"/>
          </a:xfrm>
          <a:prstGeom prst="rect">
            <a:avLst/>
          </a:prstGeom>
          <a:noFill/>
        </p:spPr>
        <p:txBody>
          <a:bodyPr lIns="180000" tIns="180000" rIns="864000" bIns="36000" anchor="b" anchorCtr="0">
            <a:noAutofit/>
          </a:bodyPr>
          <a:lstStyle>
            <a:lvl1pPr algn="l">
              <a:lnSpc>
                <a:spcPct val="100000"/>
              </a:lnSpc>
              <a:defRPr sz="42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itle slide header</a:t>
            </a:r>
            <a:r>
              <a:rPr lang="mr-IN" dirty="0"/>
              <a:t>…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grpSp>
        <p:nvGrpSpPr>
          <p:cNvPr id="8" name="Graphic 2">
            <a:extLst>
              <a:ext uri="{FF2B5EF4-FFF2-40B4-BE49-F238E27FC236}">
                <a16:creationId xmlns:a16="http://schemas.microsoft.com/office/drawing/2014/main" id="{9179D459-76A3-234B-BBDE-A62C80D7F483}"/>
              </a:ext>
            </a:extLst>
          </p:cNvPr>
          <p:cNvGrpSpPr/>
          <p:nvPr userDrawn="1"/>
        </p:nvGrpSpPr>
        <p:grpSpPr>
          <a:xfrm>
            <a:off x="360363" y="1351556"/>
            <a:ext cx="1694901" cy="1800672"/>
            <a:chOff x="4522787" y="1925637"/>
            <a:chExt cx="2472690" cy="2627001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D245156D-F4D5-764B-B8BC-D8FB794705CF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2759C32-66C4-F746-B268-4A60EC6F21C0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D30D49F-F7A4-D142-9453-95E50EA0436F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grpSp>
        <p:nvGrpSpPr>
          <p:cNvPr id="2" name="Graphic 11">
            <a:extLst>
              <a:ext uri="{FF2B5EF4-FFF2-40B4-BE49-F238E27FC236}">
                <a16:creationId xmlns:a16="http://schemas.microsoft.com/office/drawing/2014/main" id="{2B14A07C-F107-AD4B-84D8-19021835B693}"/>
              </a:ext>
            </a:extLst>
          </p:cNvPr>
          <p:cNvGrpSpPr/>
          <p:nvPr/>
        </p:nvGrpSpPr>
        <p:grpSpPr>
          <a:xfrm>
            <a:off x="306551" y="4687749"/>
            <a:ext cx="1799571" cy="1548280"/>
            <a:chOff x="306551" y="4687749"/>
            <a:chExt cx="1799571" cy="1548280"/>
          </a:xfrm>
        </p:grpSpPr>
        <p:grpSp>
          <p:nvGrpSpPr>
            <p:cNvPr id="3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363507" y="5419387"/>
              <a:ext cx="704074" cy="228902"/>
              <a:chOff x="363507" y="5419387"/>
              <a:chExt cx="704074" cy="228902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A10631D4-F199-2743-A560-F09432C5EC06}"/>
                  </a:ext>
                </a:extLst>
              </p:cNvPr>
              <p:cNvSpPr/>
              <p:nvPr/>
            </p:nvSpPr>
            <p:spPr>
              <a:xfrm>
                <a:off x="363507" y="5419387"/>
                <a:ext cx="155114" cy="180936"/>
              </a:xfrm>
              <a:custGeom>
                <a:avLst/>
                <a:gdLst>
                  <a:gd name="connsiteX0" fmla="*/ 81799 w 155114"/>
                  <a:gd name="connsiteY0" fmla="*/ 160900 h 180936"/>
                  <a:gd name="connsiteX1" fmla="*/ 118154 w 155114"/>
                  <a:gd name="connsiteY1" fmla="*/ 149971 h 180936"/>
                  <a:gd name="connsiteX2" fmla="*/ 134513 w 155114"/>
                  <a:gd name="connsiteY2" fmla="*/ 120219 h 180936"/>
                  <a:gd name="connsiteX3" fmla="*/ 155115 w 155114"/>
                  <a:gd name="connsiteY3" fmla="*/ 123862 h 180936"/>
                  <a:gd name="connsiteX4" fmla="*/ 130878 w 155114"/>
                  <a:gd name="connsiteY4" fmla="*/ 166364 h 180936"/>
                  <a:gd name="connsiteX5" fmla="*/ 81193 w 155114"/>
                  <a:gd name="connsiteY5" fmla="*/ 180936 h 180936"/>
                  <a:gd name="connsiteX6" fmla="*/ 21813 w 155114"/>
                  <a:gd name="connsiteY6" fmla="*/ 156650 h 180936"/>
                  <a:gd name="connsiteX7" fmla="*/ 0 w 155114"/>
                  <a:gd name="connsiteY7" fmla="*/ 90468 h 180936"/>
                  <a:gd name="connsiteX8" fmla="*/ 6059 w 155114"/>
                  <a:gd name="connsiteY8" fmla="*/ 52217 h 180936"/>
                  <a:gd name="connsiteX9" fmla="*/ 22419 w 155114"/>
                  <a:gd name="connsiteY9" fmla="*/ 23680 h 180936"/>
                  <a:gd name="connsiteX10" fmla="*/ 47867 w 155114"/>
                  <a:gd name="connsiteY10" fmla="*/ 6072 h 180936"/>
                  <a:gd name="connsiteX11" fmla="*/ 81193 w 155114"/>
                  <a:gd name="connsiteY11" fmla="*/ 0 h 180936"/>
                  <a:gd name="connsiteX12" fmla="*/ 130878 w 155114"/>
                  <a:gd name="connsiteY12" fmla="*/ 14572 h 180936"/>
                  <a:gd name="connsiteX13" fmla="*/ 154509 w 155114"/>
                  <a:gd name="connsiteY13" fmla="*/ 57074 h 180936"/>
                  <a:gd name="connsiteX14" fmla="*/ 133907 w 155114"/>
                  <a:gd name="connsiteY14" fmla="*/ 60717 h 180936"/>
                  <a:gd name="connsiteX15" fmla="*/ 117548 w 155114"/>
                  <a:gd name="connsiteY15" fmla="*/ 31573 h 180936"/>
                  <a:gd name="connsiteX16" fmla="*/ 81193 w 155114"/>
                  <a:gd name="connsiteY16" fmla="*/ 20037 h 180936"/>
                  <a:gd name="connsiteX17" fmla="*/ 55138 w 155114"/>
                  <a:gd name="connsiteY17" fmla="*/ 25501 h 180936"/>
                  <a:gd name="connsiteX18" fmla="*/ 36355 w 155114"/>
                  <a:gd name="connsiteY18" fmla="*/ 40073 h 180936"/>
                  <a:gd name="connsiteX19" fmla="*/ 24843 w 155114"/>
                  <a:gd name="connsiteY19" fmla="*/ 62538 h 180936"/>
                  <a:gd name="connsiteX20" fmla="*/ 21207 w 155114"/>
                  <a:gd name="connsiteY20" fmla="*/ 91683 h 180936"/>
                  <a:gd name="connsiteX21" fmla="*/ 36961 w 155114"/>
                  <a:gd name="connsiteY21" fmla="*/ 142685 h 180936"/>
                  <a:gd name="connsiteX22" fmla="*/ 81799 w 155114"/>
                  <a:gd name="connsiteY22" fmla="*/ 160900 h 1809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55114" h="180936">
                    <a:moveTo>
                      <a:pt x="81799" y="160900"/>
                    </a:moveTo>
                    <a:cubicBezTo>
                      <a:pt x="97553" y="160900"/>
                      <a:pt x="109671" y="157257"/>
                      <a:pt x="118154" y="149971"/>
                    </a:cubicBezTo>
                    <a:cubicBezTo>
                      <a:pt x="126636" y="142685"/>
                      <a:pt x="132090" y="132970"/>
                      <a:pt x="134513" y="120219"/>
                    </a:cubicBezTo>
                    <a:lnTo>
                      <a:pt x="155115" y="123862"/>
                    </a:lnTo>
                    <a:cubicBezTo>
                      <a:pt x="152085" y="142077"/>
                      <a:pt x="143602" y="156650"/>
                      <a:pt x="130878" y="166364"/>
                    </a:cubicBezTo>
                    <a:cubicBezTo>
                      <a:pt x="118154" y="176079"/>
                      <a:pt x="101794" y="180936"/>
                      <a:pt x="81193" y="180936"/>
                    </a:cubicBezTo>
                    <a:cubicBezTo>
                      <a:pt x="56350" y="180936"/>
                      <a:pt x="36355" y="173043"/>
                      <a:pt x="21813" y="156650"/>
                    </a:cubicBezTo>
                    <a:cubicBezTo>
                      <a:pt x="7271" y="140256"/>
                      <a:pt x="0" y="118398"/>
                      <a:pt x="0" y="90468"/>
                    </a:cubicBezTo>
                    <a:cubicBezTo>
                      <a:pt x="0" y="75896"/>
                      <a:pt x="1818" y="63146"/>
                      <a:pt x="6059" y="52217"/>
                    </a:cubicBezTo>
                    <a:cubicBezTo>
                      <a:pt x="9695" y="40680"/>
                      <a:pt x="15754" y="31573"/>
                      <a:pt x="22419" y="23680"/>
                    </a:cubicBezTo>
                    <a:cubicBezTo>
                      <a:pt x="29690" y="15786"/>
                      <a:pt x="38173" y="9715"/>
                      <a:pt x="47867" y="6072"/>
                    </a:cubicBezTo>
                    <a:cubicBezTo>
                      <a:pt x="58168" y="1822"/>
                      <a:pt x="69074" y="0"/>
                      <a:pt x="81193" y="0"/>
                    </a:cubicBezTo>
                    <a:cubicBezTo>
                      <a:pt x="101794" y="0"/>
                      <a:pt x="118154" y="4857"/>
                      <a:pt x="130878" y="14572"/>
                    </a:cubicBezTo>
                    <a:cubicBezTo>
                      <a:pt x="143602" y="24287"/>
                      <a:pt x="151479" y="38859"/>
                      <a:pt x="154509" y="57074"/>
                    </a:cubicBezTo>
                    <a:lnTo>
                      <a:pt x="133907" y="60717"/>
                    </a:lnTo>
                    <a:cubicBezTo>
                      <a:pt x="131484" y="49181"/>
                      <a:pt x="126031" y="39466"/>
                      <a:pt x="117548" y="31573"/>
                    </a:cubicBezTo>
                    <a:cubicBezTo>
                      <a:pt x="109065" y="23680"/>
                      <a:pt x="96947" y="20037"/>
                      <a:pt x="81193" y="20037"/>
                    </a:cubicBezTo>
                    <a:cubicBezTo>
                      <a:pt x="71498" y="20037"/>
                      <a:pt x="63015" y="21858"/>
                      <a:pt x="55138" y="25501"/>
                    </a:cubicBezTo>
                    <a:cubicBezTo>
                      <a:pt x="47867" y="29144"/>
                      <a:pt x="41202" y="34001"/>
                      <a:pt x="36355" y="40073"/>
                    </a:cubicBezTo>
                    <a:cubicBezTo>
                      <a:pt x="31508" y="46145"/>
                      <a:pt x="27872" y="53431"/>
                      <a:pt x="24843" y="62538"/>
                    </a:cubicBezTo>
                    <a:cubicBezTo>
                      <a:pt x="22419" y="71039"/>
                      <a:pt x="21207" y="80753"/>
                      <a:pt x="21207" y="91683"/>
                    </a:cubicBezTo>
                    <a:cubicBezTo>
                      <a:pt x="21207" y="112933"/>
                      <a:pt x="26660" y="129934"/>
                      <a:pt x="36961" y="142685"/>
                    </a:cubicBezTo>
                    <a:cubicBezTo>
                      <a:pt x="47867" y="154828"/>
                      <a:pt x="62409" y="160900"/>
                      <a:pt x="81799" y="16090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95F7A21D-6CE6-3D40-87B8-A27DCD746457}"/>
                  </a:ext>
                </a:extLst>
              </p:cNvPr>
              <p:cNvSpPr/>
              <p:nvPr/>
            </p:nvSpPr>
            <p:spPr>
              <a:xfrm>
                <a:off x="542858" y="5472210"/>
                <a:ext cx="115729" cy="128719"/>
              </a:xfrm>
              <a:custGeom>
                <a:avLst/>
                <a:gdLst>
                  <a:gd name="connsiteX0" fmla="*/ 58774 w 115729"/>
                  <a:gd name="connsiteY0" fmla="*/ 109898 h 128719"/>
                  <a:gd name="connsiteX1" fmla="*/ 86646 w 115729"/>
                  <a:gd name="connsiteY1" fmla="*/ 97754 h 128719"/>
                  <a:gd name="connsiteX2" fmla="*/ 95735 w 115729"/>
                  <a:gd name="connsiteY2" fmla="*/ 63753 h 128719"/>
                  <a:gd name="connsiteX3" fmla="*/ 86646 w 115729"/>
                  <a:gd name="connsiteY3" fmla="*/ 29751 h 128719"/>
                  <a:gd name="connsiteX4" fmla="*/ 58774 w 115729"/>
                  <a:gd name="connsiteY4" fmla="*/ 17608 h 128719"/>
                  <a:gd name="connsiteX5" fmla="*/ 30902 w 115729"/>
                  <a:gd name="connsiteY5" fmla="*/ 29751 h 128719"/>
                  <a:gd name="connsiteX6" fmla="*/ 21207 w 115729"/>
                  <a:gd name="connsiteY6" fmla="*/ 63753 h 128719"/>
                  <a:gd name="connsiteX7" fmla="*/ 31508 w 115729"/>
                  <a:gd name="connsiteY7" fmla="*/ 97754 h 128719"/>
                  <a:gd name="connsiteX8" fmla="*/ 58774 w 115729"/>
                  <a:gd name="connsiteY8" fmla="*/ 109898 h 128719"/>
                  <a:gd name="connsiteX9" fmla="*/ 58774 w 115729"/>
                  <a:gd name="connsiteY9" fmla="*/ 128720 h 128719"/>
                  <a:gd name="connsiteX10" fmla="*/ 35143 w 115729"/>
                  <a:gd name="connsiteY10" fmla="*/ 124470 h 128719"/>
                  <a:gd name="connsiteX11" fmla="*/ 16360 w 115729"/>
                  <a:gd name="connsiteY11" fmla="*/ 112326 h 128719"/>
                  <a:gd name="connsiteX12" fmla="*/ 4241 w 115729"/>
                  <a:gd name="connsiteY12" fmla="*/ 91683 h 128719"/>
                  <a:gd name="connsiteX13" fmla="*/ 0 w 115729"/>
                  <a:gd name="connsiteY13" fmla="*/ 64360 h 128719"/>
                  <a:gd name="connsiteX14" fmla="*/ 16360 w 115729"/>
                  <a:gd name="connsiteY14" fmla="*/ 17001 h 128719"/>
                  <a:gd name="connsiteX15" fmla="*/ 58774 w 115729"/>
                  <a:gd name="connsiteY15" fmla="*/ 0 h 128719"/>
                  <a:gd name="connsiteX16" fmla="*/ 99976 w 115729"/>
                  <a:gd name="connsiteY16" fmla="*/ 17001 h 128719"/>
                  <a:gd name="connsiteX17" fmla="*/ 115730 w 115729"/>
                  <a:gd name="connsiteY17" fmla="*/ 64360 h 128719"/>
                  <a:gd name="connsiteX18" fmla="*/ 99976 w 115729"/>
                  <a:gd name="connsiteY18" fmla="*/ 111719 h 128719"/>
                  <a:gd name="connsiteX19" fmla="*/ 58774 w 115729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29" h="128719">
                    <a:moveTo>
                      <a:pt x="58774" y="109898"/>
                    </a:moveTo>
                    <a:cubicBezTo>
                      <a:pt x="70892" y="109898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6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3" y="89254"/>
                      <a:pt x="31508" y="97754"/>
                    </a:cubicBezTo>
                    <a:cubicBezTo>
                      <a:pt x="38173" y="106255"/>
                      <a:pt x="47261" y="109898"/>
                      <a:pt x="58774" y="109898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3"/>
                    </a:cubicBezTo>
                    <a:cubicBezTo>
                      <a:pt x="1212" y="83789"/>
                      <a:pt x="0" y="74682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5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676" y="122648"/>
                      <a:pt x="76345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26B82B9C-C334-8B4F-8B44-53E8A3865E31}"/>
                  </a:ext>
                </a:extLst>
              </p:cNvPr>
              <p:cNvSpPr/>
              <p:nvPr/>
            </p:nvSpPr>
            <p:spPr>
              <a:xfrm>
                <a:off x="690095" y="5474639"/>
                <a:ext cx="97552" cy="123862"/>
              </a:xfrm>
              <a:custGeom>
                <a:avLst/>
                <a:gdLst>
                  <a:gd name="connsiteX0" fmla="*/ 56350 w 97552"/>
                  <a:gd name="connsiteY0" fmla="*/ 69217 h 123862"/>
                  <a:gd name="connsiteX1" fmla="*/ 19995 w 97552"/>
                  <a:gd name="connsiteY1" fmla="*/ 69217 h 123862"/>
                  <a:gd name="connsiteX2" fmla="*/ 19995 w 97552"/>
                  <a:gd name="connsiteY2" fmla="*/ 105647 h 123862"/>
                  <a:gd name="connsiteX3" fmla="*/ 56350 w 97552"/>
                  <a:gd name="connsiteY3" fmla="*/ 105647 h 123862"/>
                  <a:gd name="connsiteX4" fmla="*/ 73316 w 97552"/>
                  <a:gd name="connsiteY4" fmla="*/ 100790 h 123862"/>
                  <a:gd name="connsiteX5" fmla="*/ 78163 w 97552"/>
                  <a:gd name="connsiteY5" fmla="*/ 87432 h 123862"/>
                  <a:gd name="connsiteX6" fmla="*/ 72710 w 97552"/>
                  <a:gd name="connsiteY6" fmla="*/ 73467 h 123862"/>
                  <a:gd name="connsiteX7" fmla="*/ 56350 w 97552"/>
                  <a:gd name="connsiteY7" fmla="*/ 69217 h 123862"/>
                  <a:gd name="connsiteX8" fmla="*/ 52715 w 97552"/>
                  <a:gd name="connsiteY8" fmla="*/ 17608 h 123862"/>
                  <a:gd name="connsiteX9" fmla="*/ 19995 w 97552"/>
                  <a:gd name="connsiteY9" fmla="*/ 17608 h 123862"/>
                  <a:gd name="connsiteX10" fmla="*/ 19995 w 97552"/>
                  <a:gd name="connsiteY10" fmla="*/ 52216 h 123862"/>
                  <a:gd name="connsiteX11" fmla="*/ 54532 w 97552"/>
                  <a:gd name="connsiteY11" fmla="*/ 52216 h 123862"/>
                  <a:gd name="connsiteX12" fmla="*/ 69680 w 97552"/>
                  <a:gd name="connsiteY12" fmla="*/ 47966 h 123862"/>
                  <a:gd name="connsiteX13" fmla="*/ 74528 w 97552"/>
                  <a:gd name="connsiteY13" fmla="*/ 34609 h 123862"/>
                  <a:gd name="connsiteX14" fmla="*/ 69680 w 97552"/>
                  <a:gd name="connsiteY14" fmla="*/ 21251 h 123862"/>
                  <a:gd name="connsiteX15" fmla="*/ 52715 w 97552"/>
                  <a:gd name="connsiteY15" fmla="*/ 17608 h 123862"/>
                  <a:gd name="connsiteX16" fmla="*/ 0 w 97552"/>
                  <a:gd name="connsiteY16" fmla="*/ 123255 h 123862"/>
                  <a:gd name="connsiteX17" fmla="*/ 0 w 97552"/>
                  <a:gd name="connsiteY17" fmla="*/ 0 h 123862"/>
                  <a:gd name="connsiteX18" fmla="*/ 52715 w 97552"/>
                  <a:gd name="connsiteY18" fmla="*/ 0 h 123862"/>
                  <a:gd name="connsiteX19" fmla="*/ 83616 w 97552"/>
                  <a:gd name="connsiteY19" fmla="*/ 8500 h 123862"/>
                  <a:gd name="connsiteX20" fmla="*/ 94523 w 97552"/>
                  <a:gd name="connsiteY20" fmla="*/ 33394 h 123862"/>
                  <a:gd name="connsiteX21" fmla="*/ 90887 w 97552"/>
                  <a:gd name="connsiteY21" fmla="*/ 47966 h 123862"/>
                  <a:gd name="connsiteX22" fmla="*/ 76951 w 97552"/>
                  <a:gd name="connsiteY22" fmla="*/ 59502 h 123862"/>
                  <a:gd name="connsiteX23" fmla="*/ 92705 w 97552"/>
                  <a:gd name="connsiteY23" fmla="*/ 70432 h 123862"/>
                  <a:gd name="connsiteX24" fmla="*/ 97553 w 97552"/>
                  <a:gd name="connsiteY24" fmla="*/ 88647 h 123862"/>
                  <a:gd name="connsiteX25" fmla="*/ 87858 w 97552"/>
                  <a:gd name="connsiteY25" fmla="*/ 114148 h 123862"/>
                  <a:gd name="connsiteX26" fmla="*/ 56350 w 97552"/>
                  <a:gd name="connsiteY26" fmla="*/ 123862 h 123862"/>
                  <a:gd name="connsiteX27" fmla="*/ 0 w 97552"/>
                  <a:gd name="connsiteY27" fmla="*/ 123862 h 1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7552" h="123862">
                    <a:moveTo>
                      <a:pt x="56350" y="69217"/>
                    </a:moveTo>
                    <a:lnTo>
                      <a:pt x="19995" y="69217"/>
                    </a:lnTo>
                    <a:lnTo>
                      <a:pt x="19995" y="105647"/>
                    </a:lnTo>
                    <a:lnTo>
                      <a:pt x="56350" y="105647"/>
                    </a:lnTo>
                    <a:cubicBezTo>
                      <a:pt x="64227" y="105647"/>
                      <a:pt x="69680" y="103826"/>
                      <a:pt x="73316" y="100790"/>
                    </a:cubicBezTo>
                    <a:cubicBezTo>
                      <a:pt x="76345" y="97754"/>
                      <a:pt x="78163" y="93504"/>
                      <a:pt x="78163" y="87432"/>
                    </a:cubicBezTo>
                    <a:cubicBezTo>
                      <a:pt x="78163" y="80753"/>
                      <a:pt x="76345" y="76503"/>
                      <a:pt x="72710" y="73467"/>
                    </a:cubicBezTo>
                    <a:cubicBezTo>
                      <a:pt x="69680" y="71039"/>
                      <a:pt x="64227" y="69217"/>
                      <a:pt x="56350" y="69217"/>
                    </a:cubicBezTo>
                    <a:moveTo>
                      <a:pt x="52715" y="17608"/>
                    </a:moveTo>
                    <a:lnTo>
                      <a:pt x="19995" y="17608"/>
                    </a:lnTo>
                    <a:lnTo>
                      <a:pt x="19995" y="52216"/>
                    </a:lnTo>
                    <a:lnTo>
                      <a:pt x="54532" y="52216"/>
                    </a:lnTo>
                    <a:cubicBezTo>
                      <a:pt x="61198" y="52216"/>
                      <a:pt x="66651" y="51002"/>
                      <a:pt x="69680" y="47966"/>
                    </a:cubicBezTo>
                    <a:cubicBezTo>
                      <a:pt x="73316" y="44930"/>
                      <a:pt x="74528" y="40680"/>
                      <a:pt x="74528" y="34609"/>
                    </a:cubicBezTo>
                    <a:cubicBezTo>
                      <a:pt x="74528" y="28537"/>
                      <a:pt x="72710" y="24287"/>
                      <a:pt x="69680" y="21251"/>
                    </a:cubicBezTo>
                    <a:cubicBezTo>
                      <a:pt x="67257" y="19429"/>
                      <a:pt x="61198" y="17608"/>
                      <a:pt x="52715" y="17608"/>
                    </a:cubicBezTo>
                    <a:moveTo>
                      <a:pt x="0" y="123255"/>
                    </a:moveTo>
                    <a:lnTo>
                      <a:pt x="0" y="0"/>
                    </a:lnTo>
                    <a:lnTo>
                      <a:pt x="52715" y="0"/>
                    </a:lnTo>
                    <a:cubicBezTo>
                      <a:pt x="66045" y="0"/>
                      <a:pt x="76345" y="3036"/>
                      <a:pt x="83616" y="8500"/>
                    </a:cubicBezTo>
                    <a:cubicBezTo>
                      <a:pt x="90887" y="13965"/>
                      <a:pt x="94523" y="22465"/>
                      <a:pt x="94523" y="33394"/>
                    </a:cubicBezTo>
                    <a:cubicBezTo>
                      <a:pt x="94523" y="38252"/>
                      <a:pt x="93311" y="43109"/>
                      <a:pt x="90887" y="47966"/>
                    </a:cubicBezTo>
                    <a:cubicBezTo>
                      <a:pt x="88464" y="52824"/>
                      <a:pt x="84222" y="57074"/>
                      <a:pt x="76951" y="59502"/>
                    </a:cubicBezTo>
                    <a:cubicBezTo>
                      <a:pt x="84222" y="61931"/>
                      <a:pt x="89676" y="65574"/>
                      <a:pt x="92705" y="70432"/>
                    </a:cubicBezTo>
                    <a:cubicBezTo>
                      <a:pt x="95735" y="75289"/>
                      <a:pt x="97553" y="81361"/>
                      <a:pt x="97553" y="88647"/>
                    </a:cubicBezTo>
                    <a:cubicBezTo>
                      <a:pt x="97553" y="98968"/>
                      <a:pt x="94523" y="107469"/>
                      <a:pt x="87858" y="114148"/>
                    </a:cubicBezTo>
                    <a:cubicBezTo>
                      <a:pt x="81193" y="120219"/>
                      <a:pt x="70892" y="123862"/>
                      <a:pt x="56350" y="123862"/>
                    </a:cubicBezTo>
                    <a:lnTo>
                      <a:pt x="0" y="123862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74343383-0ABD-2B40-A082-B3607EEAF702}"/>
                  </a:ext>
                </a:extLst>
              </p:cNvPr>
              <p:cNvSpPr/>
              <p:nvPr/>
            </p:nvSpPr>
            <p:spPr>
              <a:xfrm>
                <a:off x="810673" y="5472818"/>
                <a:ext cx="110276" cy="128112"/>
              </a:xfrm>
              <a:custGeom>
                <a:avLst/>
                <a:gdLst>
                  <a:gd name="connsiteX0" fmla="*/ 57562 w 110276"/>
                  <a:gd name="connsiteY0" fmla="*/ 17001 h 128112"/>
                  <a:gd name="connsiteX1" fmla="*/ 33931 w 110276"/>
                  <a:gd name="connsiteY1" fmla="*/ 26108 h 128112"/>
                  <a:gd name="connsiteX2" fmla="*/ 21813 w 110276"/>
                  <a:gd name="connsiteY2" fmla="*/ 49788 h 128112"/>
                  <a:gd name="connsiteX3" fmla="*/ 90887 w 110276"/>
                  <a:gd name="connsiteY3" fmla="*/ 49788 h 128112"/>
                  <a:gd name="connsiteX4" fmla="*/ 82405 w 110276"/>
                  <a:gd name="connsiteY4" fmla="*/ 26108 h 128112"/>
                  <a:gd name="connsiteX5" fmla="*/ 57562 w 110276"/>
                  <a:gd name="connsiteY5" fmla="*/ 17001 h 128112"/>
                  <a:gd name="connsiteX6" fmla="*/ 110277 w 110276"/>
                  <a:gd name="connsiteY6" fmla="*/ 67396 h 128112"/>
                  <a:gd name="connsiteX7" fmla="*/ 20601 w 110276"/>
                  <a:gd name="connsiteY7" fmla="*/ 67396 h 128112"/>
                  <a:gd name="connsiteX8" fmla="*/ 32114 w 110276"/>
                  <a:gd name="connsiteY8" fmla="*/ 98969 h 128112"/>
                  <a:gd name="connsiteX9" fmla="*/ 58168 w 110276"/>
                  <a:gd name="connsiteY9" fmla="*/ 109897 h 128112"/>
                  <a:gd name="connsiteX10" fmla="*/ 80587 w 110276"/>
                  <a:gd name="connsiteY10" fmla="*/ 103219 h 128112"/>
                  <a:gd name="connsiteX11" fmla="*/ 90887 w 110276"/>
                  <a:gd name="connsiteY11" fmla="*/ 87432 h 128112"/>
                  <a:gd name="connsiteX12" fmla="*/ 110277 w 110276"/>
                  <a:gd name="connsiteY12" fmla="*/ 91075 h 128112"/>
                  <a:gd name="connsiteX13" fmla="*/ 92099 w 110276"/>
                  <a:gd name="connsiteY13" fmla="*/ 118398 h 128112"/>
                  <a:gd name="connsiteX14" fmla="*/ 57562 w 110276"/>
                  <a:gd name="connsiteY14" fmla="*/ 128113 h 128112"/>
                  <a:gd name="connsiteX15" fmla="*/ 15754 w 110276"/>
                  <a:gd name="connsiteY15" fmla="*/ 111112 h 128112"/>
                  <a:gd name="connsiteX16" fmla="*/ 0 w 110276"/>
                  <a:gd name="connsiteY16" fmla="*/ 63753 h 128112"/>
                  <a:gd name="connsiteX17" fmla="*/ 4241 w 110276"/>
                  <a:gd name="connsiteY17" fmla="*/ 36430 h 128112"/>
                  <a:gd name="connsiteX18" fmla="*/ 16360 w 110276"/>
                  <a:gd name="connsiteY18" fmla="*/ 16394 h 128112"/>
                  <a:gd name="connsiteX19" fmla="*/ 34537 w 110276"/>
                  <a:gd name="connsiteY19" fmla="*/ 4250 h 128112"/>
                  <a:gd name="connsiteX20" fmla="*/ 56956 w 110276"/>
                  <a:gd name="connsiteY20" fmla="*/ 0 h 128112"/>
                  <a:gd name="connsiteX21" fmla="*/ 95735 w 110276"/>
                  <a:gd name="connsiteY21" fmla="*/ 15786 h 128112"/>
                  <a:gd name="connsiteX22" fmla="*/ 110277 w 110276"/>
                  <a:gd name="connsiteY22" fmla="*/ 59503 h 128112"/>
                  <a:gd name="connsiteX23" fmla="*/ 110277 w 110276"/>
                  <a:gd name="connsiteY23" fmla="*/ 67396 h 12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0276" h="128112">
                    <a:moveTo>
                      <a:pt x="57562" y="17001"/>
                    </a:moveTo>
                    <a:cubicBezTo>
                      <a:pt x="47867" y="17001"/>
                      <a:pt x="39991" y="20037"/>
                      <a:pt x="33931" y="26108"/>
                    </a:cubicBezTo>
                    <a:cubicBezTo>
                      <a:pt x="27266" y="32180"/>
                      <a:pt x="23631" y="40073"/>
                      <a:pt x="21813" y="49788"/>
                    </a:cubicBezTo>
                    <a:lnTo>
                      <a:pt x="90887" y="49788"/>
                    </a:lnTo>
                    <a:cubicBezTo>
                      <a:pt x="90282" y="40073"/>
                      <a:pt x="87252" y="32180"/>
                      <a:pt x="82405" y="26108"/>
                    </a:cubicBezTo>
                    <a:cubicBezTo>
                      <a:pt x="75740" y="20037"/>
                      <a:pt x="67863" y="17001"/>
                      <a:pt x="57562" y="17001"/>
                    </a:cubicBezTo>
                    <a:moveTo>
                      <a:pt x="110277" y="67396"/>
                    </a:moveTo>
                    <a:lnTo>
                      <a:pt x="20601" y="67396"/>
                    </a:lnTo>
                    <a:cubicBezTo>
                      <a:pt x="21207" y="81361"/>
                      <a:pt x="24843" y="91682"/>
                      <a:pt x="32114" y="98969"/>
                    </a:cubicBezTo>
                    <a:cubicBezTo>
                      <a:pt x="38779" y="106255"/>
                      <a:pt x="47867" y="109897"/>
                      <a:pt x="58168" y="109897"/>
                    </a:cubicBezTo>
                    <a:cubicBezTo>
                      <a:pt x="67863" y="109897"/>
                      <a:pt x="75134" y="107469"/>
                      <a:pt x="80587" y="103219"/>
                    </a:cubicBezTo>
                    <a:cubicBezTo>
                      <a:pt x="86040" y="98969"/>
                      <a:pt x="89070" y="93504"/>
                      <a:pt x="90887" y="87432"/>
                    </a:cubicBezTo>
                    <a:lnTo>
                      <a:pt x="110277" y="91075"/>
                    </a:lnTo>
                    <a:cubicBezTo>
                      <a:pt x="107247" y="102611"/>
                      <a:pt x="101188" y="111719"/>
                      <a:pt x="92099" y="118398"/>
                    </a:cubicBezTo>
                    <a:cubicBezTo>
                      <a:pt x="83011" y="125077"/>
                      <a:pt x="71498" y="128113"/>
                      <a:pt x="57562" y="128113"/>
                    </a:cubicBezTo>
                    <a:cubicBezTo>
                      <a:pt x="39991" y="128113"/>
                      <a:pt x="26054" y="122648"/>
                      <a:pt x="15754" y="111112"/>
                    </a:cubicBezTo>
                    <a:cubicBezTo>
                      <a:pt x="5453" y="99576"/>
                      <a:pt x="0" y="83789"/>
                      <a:pt x="0" y="63753"/>
                    </a:cubicBezTo>
                    <a:cubicBezTo>
                      <a:pt x="0" y="53431"/>
                      <a:pt x="1212" y="44323"/>
                      <a:pt x="4241" y="36430"/>
                    </a:cubicBezTo>
                    <a:cubicBezTo>
                      <a:pt x="7271" y="28537"/>
                      <a:pt x="11512" y="21858"/>
                      <a:pt x="16360" y="16394"/>
                    </a:cubicBezTo>
                    <a:cubicBezTo>
                      <a:pt x="21207" y="10929"/>
                      <a:pt x="27872" y="6679"/>
                      <a:pt x="34537" y="4250"/>
                    </a:cubicBezTo>
                    <a:cubicBezTo>
                      <a:pt x="41808" y="1214"/>
                      <a:pt x="49079" y="0"/>
                      <a:pt x="56956" y="0"/>
                    </a:cubicBezTo>
                    <a:cubicBezTo>
                      <a:pt x="73316" y="0"/>
                      <a:pt x="86040" y="5464"/>
                      <a:pt x="95735" y="15786"/>
                    </a:cubicBezTo>
                    <a:cubicBezTo>
                      <a:pt x="105429" y="26108"/>
                      <a:pt x="110277" y="40680"/>
                      <a:pt x="110277" y="59503"/>
                    </a:cubicBezTo>
                    <a:lnTo>
                      <a:pt x="110277" y="6739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9B15B812-661C-8541-A3A5-7627839E7AD2}"/>
                  </a:ext>
                </a:extLst>
              </p:cNvPr>
              <p:cNvSpPr/>
              <p:nvPr/>
            </p:nvSpPr>
            <p:spPr>
              <a:xfrm>
                <a:off x="951245" y="5471603"/>
                <a:ext cx="116335" cy="176686"/>
              </a:xfrm>
              <a:custGeom>
                <a:avLst/>
                <a:gdLst>
                  <a:gd name="connsiteX0" fmla="*/ 20601 w 116335"/>
                  <a:gd name="connsiteY0" fmla="*/ 74682 h 176686"/>
                  <a:gd name="connsiteX1" fmla="*/ 32114 w 116335"/>
                  <a:gd name="connsiteY1" fmla="*/ 100790 h 176686"/>
                  <a:gd name="connsiteX2" fmla="*/ 59380 w 116335"/>
                  <a:gd name="connsiteY2" fmla="*/ 110505 h 176686"/>
                  <a:gd name="connsiteX3" fmla="*/ 86040 w 116335"/>
                  <a:gd name="connsiteY3" fmla="*/ 97754 h 176686"/>
                  <a:gd name="connsiteX4" fmla="*/ 95735 w 116335"/>
                  <a:gd name="connsiteY4" fmla="*/ 63753 h 176686"/>
                  <a:gd name="connsiteX5" fmla="*/ 86040 w 116335"/>
                  <a:gd name="connsiteY5" fmla="*/ 30966 h 176686"/>
                  <a:gd name="connsiteX6" fmla="*/ 58774 w 116335"/>
                  <a:gd name="connsiteY6" fmla="*/ 18215 h 176686"/>
                  <a:gd name="connsiteX7" fmla="*/ 44838 w 116335"/>
                  <a:gd name="connsiteY7" fmla="*/ 20644 h 176686"/>
                  <a:gd name="connsiteX8" fmla="*/ 32719 w 116335"/>
                  <a:gd name="connsiteY8" fmla="*/ 28537 h 176686"/>
                  <a:gd name="connsiteX9" fmla="*/ 24237 w 116335"/>
                  <a:gd name="connsiteY9" fmla="*/ 41287 h 176686"/>
                  <a:gd name="connsiteX10" fmla="*/ 21207 w 116335"/>
                  <a:gd name="connsiteY10" fmla="*/ 58895 h 176686"/>
                  <a:gd name="connsiteX11" fmla="*/ 21207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20601" y="74682"/>
                    </a:moveTo>
                    <a:cubicBezTo>
                      <a:pt x="20601" y="86218"/>
                      <a:pt x="24237" y="94718"/>
                      <a:pt x="32114" y="100790"/>
                    </a:cubicBezTo>
                    <a:cubicBezTo>
                      <a:pt x="39990" y="106862"/>
                      <a:pt x="49079" y="110505"/>
                      <a:pt x="59380" y="110505"/>
                    </a:cubicBezTo>
                    <a:cubicBezTo>
                      <a:pt x="70892" y="110505"/>
                      <a:pt x="79375" y="106255"/>
                      <a:pt x="86040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50395"/>
                      <a:pt x="92705" y="39466"/>
                      <a:pt x="86040" y="30966"/>
                    </a:cubicBezTo>
                    <a:cubicBezTo>
                      <a:pt x="79375" y="22465"/>
                      <a:pt x="70286" y="18215"/>
                      <a:pt x="58774" y="18215"/>
                    </a:cubicBezTo>
                    <a:cubicBezTo>
                      <a:pt x="53927" y="18215"/>
                      <a:pt x="49079" y="18822"/>
                      <a:pt x="44838" y="20644"/>
                    </a:cubicBezTo>
                    <a:cubicBezTo>
                      <a:pt x="40596" y="22465"/>
                      <a:pt x="36355" y="24894"/>
                      <a:pt x="32719" y="28537"/>
                    </a:cubicBezTo>
                    <a:cubicBezTo>
                      <a:pt x="29084" y="32180"/>
                      <a:pt x="26054" y="36430"/>
                      <a:pt x="24237" y="41287"/>
                    </a:cubicBezTo>
                    <a:cubicBezTo>
                      <a:pt x="21813" y="46752"/>
                      <a:pt x="21207" y="52216"/>
                      <a:pt x="21207" y="58895"/>
                    </a:cubicBezTo>
                    <a:lnTo>
                      <a:pt x="21207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3358"/>
                      <a:pt x="30902" y="8500"/>
                      <a:pt x="38779" y="4857"/>
                    </a:cubicBezTo>
                    <a:cubicBezTo>
                      <a:pt x="46050" y="1821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2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2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68E3F17D-9289-8743-B858-55A7CC94942D}"/>
                </a:ext>
              </a:extLst>
            </p:cNvPr>
            <p:cNvSpPr/>
            <p:nvPr/>
          </p:nvSpPr>
          <p:spPr>
            <a:xfrm>
              <a:off x="1098483" y="5474639"/>
              <a:ext cx="161779" cy="123255"/>
            </a:xfrm>
            <a:custGeom>
              <a:avLst/>
              <a:gdLst>
                <a:gd name="connsiteX0" fmla="*/ 161780 w 161779"/>
                <a:gd name="connsiteY0" fmla="*/ 0 h 123255"/>
                <a:gd name="connsiteX1" fmla="*/ 161780 w 161779"/>
                <a:gd name="connsiteY1" fmla="*/ 123255 h 123255"/>
                <a:gd name="connsiteX2" fmla="*/ 0 w 161779"/>
                <a:gd name="connsiteY2" fmla="*/ 123255 h 123255"/>
                <a:gd name="connsiteX3" fmla="*/ 0 w 161779"/>
                <a:gd name="connsiteY3" fmla="*/ 0 h 123255"/>
                <a:gd name="connsiteX4" fmla="*/ 20601 w 161779"/>
                <a:gd name="connsiteY4" fmla="*/ 0 h 123255"/>
                <a:gd name="connsiteX5" fmla="*/ 20601 w 161779"/>
                <a:gd name="connsiteY5" fmla="*/ 104433 h 123255"/>
                <a:gd name="connsiteX6" fmla="*/ 70892 w 161779"/>
                <a:gd name="connsiteY6" fmla="*/ 104433 h 123255"/>
                <a:gd name="connsiteX7" fmla="*/ 70892 w 161779"/>
                <a:gd name="connsiteY7" fmla="*/ 0 h 123255"/>
                <a:gd name="connsiteX8" fmla="*/ 90887 w 161779"/>
                <a:gd name="connsiteY8" fmla="*/ 0 h 123255"/>
                <a:gd name="connsiteX9" fmla="*/ 90887 w 161779"/>
                <a:gd name="connsiteY9" fmla="*/ 104433 h 123255"/>
                <a:gd name="connsiteX10" fmla="*/ 141178 w 161779"/>
                <a:gd name="connsiteY10" fmla="*/ 104433 h 123255"/>
                <a:gd name="connsiteX11" fmla="*/ 141178 w 161779"/>
                <a:gd name="connsiteY11" fmla="*/ 0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779" h="123255">
                  <a:moveTo>
                    <a:pt x="161780" y="0"/>
                  </a:moveTo>
                  <a:lnTo>
                    <a:pt x="161780" y="123255"/>
                  </a:lnTo>
                  <a:lnTo>
                    <a:pt x="0" y="123255"/>
                  </a:lnTo>
                  <a:lnTo>
                    <a:pt x="0" y="0"/>
                  </a:lnTo>
                  <a:lnTo>
                    <a:pt x="20601" y="0"/>
                  </a:lnTo>
                  <a:lnTo>
                    <a:pt x="20601" y="104433"/>
                  </a:lnTo>
                  <a:lnTo>
                    <a:pt x="70892" y="104433"/>
                  </a:lnTo>
                  <a:lnTo>
                    <a:pt x="70892" y="0"/>
                  </a:lnTo>
                  <a:lnTo>
                    <a:pt x="90887" y="0"/>
                  </a:lnTo>
                  <a:lnTo>
                    <a:pt x="90887" y="104433"/>
                  </a:lnTo>
                  <a:lnTo>
                    <a:pt x="141178" y="104433"/>
                  </a:lnTo>
                  <a:lnTo>
                    <a:pt x="141178" y="0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654E1483-9F2B-AC4E-93A0-547C66756421}"/>
                </a:ext>
              </a:extLst>
            </p:cNvPr>
            <p:cNvSpPr/>
            <p:nvPr/>
          </p:nvSpPr>
          <p:spPr>
            <a:xfrm>
              <a:off x="1290558" y="5472818"/>
              <a:ext cx="110882" cy="128112"/>
            </a:xfrm>
            <a:custGeom>
              <a:avLst/>
              <a:gdLst>
                <a:gd name="connsiteX0" fmla="*/ 57562 w 110882"/>
                <a:gd name="connsiteY0" fmla="*/ 17001 h 128112"/>
                <a:gd name="connsiteX1" fmla="*/ 33931 w 110882"/>
                <a:gd name="connsiteY1" fmla="*/ 26108 h 128112"/>
                <a:gd name="connsiteX2" fmla="*/ 21813 w 110882"/>
                <a:gd name="connsiteY2" fmla="*/ 49788 h 128112"/>
                <a:gd name="connsiteX3" fmla="*/ 90887 w 110882"/>
                <a:gd name="connsiteY3" fmla="*/ 49788 h 128112"/>
                <a:gd name="connsiteX4" fmla="*/ 82405 w 110882"/>
                <a:gd name="connsiteY4" fmla="*/ 26108 h 128112"/>
                <a:gd name="connsiteX5" fmla="*/ 57562 w 110882"/>
                <a:gd name="connsiteY5" fmla="*/ 17001 h 128112"/>
                <a:gd name="connsiteX6" fmla="*/ 110883 w 110882"/>
                <a:gd name="connsiteY6" fmla="*/ 67396 h 128112"/>
                <a:gd name="connsiteX7" fmla="*/ 20601 w 110882"/>
                <a:gd name="connsiteY7" fmla="*/ 67396 h 128112"/>
                <a:gd name="connsiteX8" fmla="*/ 32114 w 110882"/>
                <a:gd name="connsiteY8" fmla="*/ 98969 h 128112"/>
                <a:gd name="connsiteX9" fmla="*/ 58168 w 110882"/>
                <a:gd name="connsiteY9" fmla="*/ 109897 h 128112"/>
                <a:gd name="connsiteX10" fmla="*/ 80587 w 110882"/>
                <a:gd name="connsiteY10" fmla="*/ 103219 h 128112"/>
                <a:gd name="connsiteX11" fmla="*/ 90887 w 110882"/>
                <a:gd name="connsiteY11" fmla="*/ 87432 h 128112"/>
                <a:gd name="connsiteX12" fmla="*/ 110277 w 110882"/>
                <a:gd name="connsiteY12" fmla="*/ 91075 h 128112"/>
                <a:gd name="connsiteX13" fmla="*/ 92099 w 110882"/>
                <a:gd name="connsiteY13" fmla="*/ 118398 h 128112"/>
                <a:gd name="connsiteX14" fmla="*/ 57562 w 110882"/>
                <a:gd name="connsiteY14" fmla="*/ 128113 h 128112"/>
                <a:gd name="connsiteX15" fmla="*/ 15754 w 110882"/>
                <a:gd name="connsiteY15" fmla="*/ 111112 h 128112"/>
                <a:gd name="connsiteX16" fmla="*/ 0 w 110882"/>
                <a:gd name="connsiteY16" fmla="*/ 63753 h 128112"/>
                <a:gd name="connsiteX17" fmla="*/ 4241 w 110882"/>
                <a:gd name="connsiteY17" fmla="*/ 36430 h 128112"/>
                <a:gd name="connsiteX18" fmla="*/ 16360 w 110882"/>
                <a:gd name="connsiteY18" fmla="*/ 16394 h 128112"/>
                <a:gd name="connsiteX19" fmla="*/ 34537 w 110882"/>
                <a:gd name="connsiteY19" fmla="*/ 4250 h 128112"/>
                <a:gd name="connsiteX20" fmla="*/ 56956 w 110882"/>
                <a:gd name="connsiteY20" fmla="*/ 0 h 128112"/>
                <a:gd name="connsiteX21" fmla="*/ 95735 w 110882"/>
                <a:gd name="connsiteY21" fmla="*/ 15786 h 128112"/>
                <a:gd name="connsiteX22" fmla="*/ 110277 w 110882"/>
                <a:gd name="connsiteY22" fmla="*/ 59503 h 128112"/>
                <a:gd name="connsiteX23" fmla="*/ 110277 w 110882"/>
                <a:gd name="connsiteY23" fmla="*/ 67396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0882" h="128112">
                  <a:moveTo>
                    <a:pt x="57562" y="17001"/>
                  </a:moveTo>
                  <a:cubicBezTo>
                    <a:pt x="47867" y="17001"/>
                    <a:pt x="39991" y="20037"/>
                    <a:pt x="33931" y="26108"/>
                  </a:cubicBezTo>
                  <a:cubicBezTo>
                    <a:pt x="27266" y="32180"/>
                    <a:pt x="23631" y="40073"/>
                    <a:pt x="21813" y="49788"/>
                  </a:cubicBezTo>
                  <a:lnTo>
                    <a:pt x="90887" y="49788"/>
                  </a:lnTo>
                  <a:cubicBezTo>
                    <a:pt x="90282" y="40073"/>
                    <a:pt x="87252" y="32180"/>
                    <a:pt x="82405" y="26108"/>
                  </a:cubicBezTo>
                  <a:cubicBezTo>
                    <a:pt x="76345" y="20037"/>
                    <a:pt x="67863" y="17001"/>
                    <a:pt x="57562" y="17001"/>
                  </a:cubicBezTo>
                  <a:moveTo>
                    <a:pt x="110883" y="67396"/>
                  </a:moveTo>
                  <a:lnTo>
                    <a:pt x="20601" y="67396"/>
                  </a:lnTo>
                  <a:cubicBezTo>
                    <a:pt x="21207" y="81361"/>
                    <a:pt x="24843" y="91682"/>
                    <a:pt x="32114" y="98969"/>
                  </a:cubicBezTo>
                  <a:cubicBezTo>
                    <a:pt x="38779" y="106255"/>
                    <a:pt x="47867" y="109897"/>
                    <a:pt x="58168" y="109897"/>
                  </a:cubicBezTo>
                  <a:cubicBezTo>
                    <a:pt x="67863" y="109897"/>
                    <a:pt x="75134" y="107469"/>
                    <a:pt x="80587" y="103219"/>
                  </a:cubicBezTo>
                  <a:cubicBezTo>
                    <a:pt x="86040" y="98969"/>
                    <a:pt x="89070" y="93504"/>
                    <a:pt x="90887" y="87432"/>
                  </a:cubicBezTo>
                  <a:lnTo>
                    <a:pt x="110277" y="91075"/>
                  </a:lnTo>
                  <a:cubicBezTo>
                    <a:pt x="107247" y="102611"/>
                    <a:pt x="101188" y="111719"/>
                    <a:pt x="92099" y="118398"/>
                  </a:cubicBezTo>
                  <a:cubicBezTo>
                    <a:pt x="83011" y="125077"/>
                    <a:pt x="71498" y="128113"/>
                    <a:pt x="57562" y="128113"/>
                  </a:cubicBezTo>
                  <a:cubicBezTo>
                    <a:pt x="39991" y="128113"/>
                    <a:pt x="26054" y="122648"/>
                    <a:pt x="15754" y="111112"/>
                  </a:cubicBezTo>
                  <a:cubicBezTo>
                    <a:pt x="5453" y="99576"/>
                    <a:pt x="0" y="83789"/>
                    <a:pt x="0" y="63753"/>
                  </a:cubicBezTo>
                  <a:cubicBezTo>
                    <a:pt x="0" y="53431"/>
                    <a:pt x="1212" y="44323"/>
                    <a:pt x="4241" y="36430"/>
                  </a:cubicBezTo>
                  <a:cubicBezTo>
                    <a:pt x="7271" y="28537"/>
                    <a:pt x="11512" y="21858"/>
                    <a:pt x="16360" y="16394"/>
                  </a:cubicBezTo>
                  <a:cubicBezTo>
                    <a:pt x="21207" y="10929"/>
                    <a:pt x="27872" y="6679"/>
                    <a:pt x="34537" y="4250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3316" y="0"/>
                    <a:pt x="86040" y="5464"/>
                    <a:pt x="95735" y="15786"/>
                  </a:cubicBezTo>
                  <a:cubicBezTo>
                    <a:pt x="105429" y="26108"/>
                    <a:pt x="110277" y="40680"/>
                    <a:pt x="110277" y="59503"/>
                  </a:cubicBezTo>
                  <a:lnTo>
                    <a:pt x="110277" y="67396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451C6711-C525-4548-BB5B-1E5B822DDE63}"/>
                </a:ext>
              </a:extLst>
            </p:cNvPr>
            <p:cNvSpPr/>
            <p:nvPr/>
          </p:nvSpPr>
          <p:spPr>
            <a:xfrm>
              <a:off x="1431131" y="5474639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508021A-96C6-BE48-A295-51199599BC66}"/>
                </a:ext>
              </a:extLst>
            </p:cNvPr>
            <p:cNvSpPr/>
            <p:nvPr/>
          </p:nvSpPr>
          <p:spPr>
            <a:xfrm>
              <a:off x="1568674" y="5471603"/>
              <a:ext cx="109064" cy="128719"/>
            </a:xfrm>
            <a:custGeom>
              <a:avLst/>
              <a:gdLst>
                <a:gd name="connsiteX0" fmla="*/ 89676 w 109064"/>
                <a:gd name="connsiteY0" fmla="*/ 86218 h 128719"/>
                <a:gd name="connsiteX1" fmla="*/ 109065 w 109064"/>
                <a:gd name="connsiteY1" fmla="*/ 89254 h 128719"/>
                <a:gd name="connsiteX2" fmla="*/ 92705 w 109064"/>
                <a:gd name="connsiteY2" fmla="*/ 117183 h 128719"/>
                <a:gd name="connsiteX3" fmla="*/ 56956 w 109064"/>
                <a:gd name="connsiteY3" fmla="*/ 128720 h 128719"/>
                <a:gd name="connsiteX4" fmla="*/ 15754 w 109064"/>
                <a:gd name="connsiteY4" fmla="*/ 112326 h 128719"/>
                <a:gd name="connsiteX5" fmla="*/ 0 w 109064"/>
                <a:gd name="connsiteY5" fmla="*/ 64360 h 128719"/>
                <a:gd name="connsiteX6" fmla="*/ 4241 w 109064"/>
                <a:gd name="connsiteY6" fmla="*/ 35823 h 128719"/>
                <a:gd name="connsiteX7" fmla="*/ 16360 w 109064"/>
                <a:gd name="connsiteY7" fmla="*/ 15786 h 128719"/>
                <a:gd name="connsiteX8" fmla="*/ 34537 w 109064"/>
                <a:gd name="connsiteY8" fmla="*/ 3643 h 128719"/>
                <a:gd name="connsiteX9" fmla="*/ 56956 w 109064"/>
                <a:gd name="connsiteY9" fmla="*/ 0 h 128719"/>
                <a:gd name="connsiteX10" fmla="*/ 93311 w 109064"/>
                <a:gd name="connsiteY10" fmla="*/ 11536 h 128719"/>
                <a:gd name="connsiteX11" fmla="*/ 109065 w 109064"/>
                <a:gd name="connsiteY11" fmla="*/ 38859 h 128719"/>
                <a:gd name="connsiteX12" fmla="*/ 90281 w 109064"/>
                <a:gd name="connsiteY12" fmla="*/ 42502 h 128719"/>
                <a:gd name="connsiteX13" fmla="*/ 80587 w 109064"/>
                <a:gd name="connsiteY13" fmla="*/ 26108 h 128719"/>
                <a:gd name="connsiteX14" fmla="*/ 57562 w 109064"/>
                <a:gd name="connsiteY14" fmla="*/ 18215 h 128719"/>
                <a:gd name="connsiteX15" fmla="*/ 30296 w 109064"/>
                <a:gd name="connsiteY15" fmla="*/ 30358 h 128719"/>
                <a:gd name="connsiteX16" fmla="*/ 20601 w 109064"/>
                <a:gd name="connsiteY16" fmla="*/ 63753 h 128719"/>
                <a:gd name="connsiteX17" fmla="*/ 30296 w 109064"/>
                <a:gd name="connsiteY17" fmla="*/ 97147 h 128719"/>
                <a:gd name="connsiteX18" fmla="*/ 57562 w 109064"/>
                <a:gd name="connsiteY18" fmla="*/ 109897 h 128719"/>
                <a:gd name="connsiteX19" fmla="*/ 81193 w 109064"/>
                <a:gd name="connsiteY19" fmla="*/ 102004 h 128719"/>
                <a:gd name="connsiteX20" fmla="*/ 89676 w 109064"/>
                <a:gd name="connsiteY20" fmla="*/ 86218 h 128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064" h="128719">
                  <a:moveTo>
                    <a:pt x="89676" y="86218"/>
                  </a:moveTo>
                  <a:lnTo>
                    <a:pt x="109065" y="89254"/>
                  </a:lnTo>
                  <a:cubicBezTo>
                    <a:pt x="106641" y="100183"/>
                    <a:pt x="101188" y="109897"/>
                    <a:pt x="92705" y="117183"/>
                  </a:cubicBezTo>
                  <a:cubicBezTo>
                    <a:pt x="84222" y="125077"/>
                    <a:pt x="72104" y="128720"/>
                    <a:pt x="56956" y="128720"/>
                  </a:cubicBezTo>
                  <a:cubicBezTo>
                    <a:pt x="39990" y="128720"/>
                    <a:pt x="26054" y="123255"/>
                    <a:pt x="15754" y="112326"/>
                  </a:cubicBezTo>
                  <a:cubicBezTo>
                    <a:pt x="5453" y="101397"/>
                    <a:pt x="0" y="85611"/>
                    <a:pt x="0" y="64360"/>
                  </a:cubicBezTo>
                  <a:cubicBezTo>
                    <a:pt x="0" y="53431"/>
                    <a:pt x="1212" y="43716"/>
                    <a:pt x="4241" y="35823"/>
                  </a:cubicBezTo>
                  <a:cubicBezTo>
                    <a:pt x="7271" y="27930"/>
                    <a:pt x="11512" y="21251"/>
                    <a:pt x="16360" y="15786"/>
                  </a:cubicBezTo>
                  <a:cubicBezTo>
                    <a:pt x="21207" y="10322"/>
                    <a:pt x="27266" y="6679"/>
                    <a:pt x="34537" y="3643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2710" y="0"/>
                    <a:pt x="84828" y="3643"/>
                    <a:pt x="93311" y="11536"/>
                  </a:cubicBezTo>
                  <a:cubicBezTo>
                    <a:pt x="101794" y="19429"/>
                    <a:pt x="106641" y="28537"/>
                    <a:pt x="109065" y="38859"/>
                  </a:cubicBezTo>
                  <a:lnTo>
                    <a:pt x="90281" y="42502"/>
                  </a:lnTo>
                  <a:cubicBezTo>
                    <a:pt x="88464" y="36430"/>
                    <a:pt x="85434" y="30966"/>
                    <a:pt x="80587" y="26108"/>
                  </a:cubicBezTo>
                  <a:cubicBezTo>
                    <a:pt x="75740" y="21251"/>
                    <a:pt x="67863" y="18215"/>
                    <a:pt x="57562" y="18215"/>
                  </a:cubicBezTo>
                  <a:cubicBezTo>
                    <a:pt x="46050" y="18215"/>
                    <a:pt x="36961" y="22465"/>
                    <a:pt x="30296" y="30358"/>
                  </a:cubicBezTo>
                  <a:cubicBezTo>
                    <a:pt x="23631" y="38859"/>
                    <a:pt x="20601" y="49788"/>
                    <a:pt x="20601" y="63753"/>
                  </a:cubicBezTo>
                  <a:cubicBezTo>
                    <a:pt x="20601" y="77718"/>
                    <a:pt x="23631" y="88647"/>
                    <a:pt x="30296" y="97147"/>
                  </a:cubicBezTo>
                  <a:cubicBezTo>
                    <a:pt x="36355" y="105647"/>
                    <a:pt x="45444" y="109897"/>
                    <a:pt x="57562" y="109897"/>
                  </a:cubicBezTo>
                  <a:cubicBezTo>
                    <a:pt x="68469" y="109897"/>
                    <a:pt x="76345" y="107469"/>
                    <a:pt x="81193" y="102004"/>
                  </a:cubicBezTo>
                  <a:cubicBezTo>
                    <a:pt x="84828" y="97754"/>
                    <a:pt x="87858" y="92290"/>
                    <a:pt x="89676" y="86218"/>
                  </a:cubicBezTo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58B60FAF-998A-D442-AE22-453AF7187B35}"/>
                </a:ext>
              </a:extLst>
            </p:cNvPr>
            <p:cNvSpPr/>
            <p:nvPr/>
          </p:nvSpPr>
          <p:spPr>
            <a:xfrm>
              <a:off x="1692887" y="5474639"/>
              <a:ext cx="110276" cy="123255"/>
            </a:xfrm>
            <a:custGeom>
              <a:avLst/>
              <a:gdLst>
                <a:gd name="connsiteX0" fmla="*/ 0 w 110276"/>
                <a:gd name="connsiteY0" fmla="*/ 19429 h 123255"/>
                <a:gd name="connsiteX1" fmla="*/ 0 w 110276"/>
                <a:gd name="connsiteY1" fmla="*/ 0 h 123255"/>
                <a:gd name="connsiteX2" fmla="*/ 110277 w 110276"/>
                <a:gd name="connsiteY2" fmla="*/ 0 h 123255"/>
                <a:gd name="connsiteX3" fmla="*/ 110277 w 110276"/>
                <a:gd name="connsiteY3" fmla="*/ 19429 h 123255"/>
                <a:gd name="connsiteX4" fmla="*/ 65439 w 110276"/>
                <a:gd name="connsiteY4" fmla="*/ 19429 h 123255"/>
                <a:gd name="connsiteX5" fmla="*/ 65439 w 110276"/>
                <a:gd name="connsiteY5" fmla="*/ 123255 h 123255"/>
                <a:gd name="connsiteX6" fmla="*/ 44838 w 110276"/>
                <a:gd name="connsiteY6" fmla="*/ 123255 h 123255"/>
                <a:gd name="connsiteX7" fmla="*/ 44838 w 110276"/>
                <a:gd name="connsiteY7" fmla="*/ 19429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0276" h="123255">
                  <a:moveTo>
                    <a:pt x="0" y="19429"/>
                  </a:moveTo>
                  <a:lnTo>
                    <a:pt x="0" y="0"/>
                  </a:lnTo>
                  <a:lnTo>
                    <a:pt x="110277" y="0"/>
                  </a:lnTo>
                  <a:lnTo>
                    <a:pt x="110277" y="19429"/>
                  </a:lnTo>
                  <a:lnTo>
                    <a:pt x="65439" y="19429"/>
                  </a:lnTo>
                  <a:lnTo>
                    <a:pt x="65439" y="123255"/>
                  </a:lnTo>
                  <a:lnTo>
                    <a:pt x="44838" y="123255"/>
                  </a:lnTo>
                  <a:lnTo>
                    <a:pt x="44838" y="19429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3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1828612" y="5472210"/>
              <a:ext cx="236913" cy="128719"/>
              <a:chOff x="1828612" y="5472210"/>
              <a:chExt cx="236913" cy="128719"/>
            </a:xfrm>
            <a:solidFill>
              <a:srgbClr val="CFD4D9"/>
            </a:solidFill>
          </p:grpSpPr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911FBB16-EF5A-FB41-8E03-3086A290846E}"/>
                  </a:ext>
                </a:extLst>
              </p:cNvPr>
              <p:cNvSpPr/>
              <p:nvPr/>
            </p:nvSpPr>
            <p:spPr>
              <a:xfrm>
                <a:off x="1828612" y="5474639"/>
                <a:ext cx="97552" cy="123862"/>
              </a:xfrm>
              <a:custGeom>
                <a:avLst/>
                <a:gdLst>
                  <a:gd name="connsiteX0" fmla="*/ 56350 w 97552"/>
                  <a:gd name="connsiteY0" fmla="*/ 69217 h 123862"/>
                  <a:gd name="connsiteX1" fmla="*/ 19995 w 97552"/>
                  <a:gd name="connsiteY1" fmla="*/ 69217 h 123862"/>
                  <a:gd name="connsiteX2" fmla="*/ 19995 w 97552"/>
                  <a:gd name="connsiteY2" fmla="*/ 105647 h 123862"/>
                  <a:gd name="connsiteX3" fmla="*/ 56350 w 97552"/>
                  <a:gd name="connsiteY3" fmla="*/ 105647 h 123862"/>
                  <a:gd name="connsiteX4" fmla="*/ 73316 w 97552"/>
                  <a:gd name="connsiteY4" fmla="*/ 100790 h 123862"/>
                  <a:gd name="connsiteX5" fmla="*/ 78163 w 97552"/>
                  <a:gd name="connsiteY5" fmla="*/ 87432 h 123862"/>
                  <a:gd name="connsiteX6" fmla="*/ 72710 w 97552"/>
                  <a:gd name="connsiteY6" fmla="*/ 73467 h 123862"/>
                  <a:gd name="connsiteX7" fmla="*/ 56350 w 97552"/>
                  <a:gd name="connsiteY7" fmla="*/ 69217 h 123862"/>
                  <a:gd name="connsiteX8" fmla="*/ 52715 w 97552"/>
                  <a:gd name="connsiteY8" fmla="*/ 17608 h 123862"/>
                  <a:gd name="connsiteX9" fmla="*/ 19995 w 97552"/>
                  <a:gd name="connsiteY9" fmla="*/ 17608 h 123862"/>
                  <a:gd name="connsiteX10" fmla="*/ 19995 w 97552"/>
                  <a:gd name="connsiteY10" fmla="*/ 52216 h 123862"/>
                  <a:gd name="connsiteX11" fmla="*/ 54533 w 97552"/>
                  <a:gd name="connsiteY11" fmla="*/ 52216 h 123862"/>
                  <a:gd name="connsiteX12" fmla="*/ 69680 w 97552"/>
                  <a:gd name="connsiteY12" fmla="*/ 47966 h 123862"/>
                  <a:gd name="connsiteX13" fmla="*/ 74528 w 97552"/>
                  <a:gd name="connsiteY13" fmla="*/ 34609 h 123862"/>
                  <a:gd name="connsiteX14" fmla="*/ 69680 w 97552"/>
                  <a:gd name="connsiteY14" fmla="*/ 21251 h 123862"/>
                  <a:gd name="connsiteX15" fmla="*/ 52715 w 97552"/>
                  <a:gd name="connsiteY15" fmla="*/ 17608 h 123862"/>
                  <a:gd name="connsiteX16" fmla="*/ 0 w 97552"/>
                  <a:gd name="connsiteY16" fmla="*/ 123255 h 123862"/>
                  <a:gd name="connsiteX17" fmla="*/ 0 w 97552"/>
                  <a:gd name="connsiteY17" fmla="*/ 0 h 123862"/>
                  <a:gd name="connsiteX18" fmla="*/ 52715 w 97552"/>
                  <a:gd name="connsiteY18" fmla="*/ 0 h 123862"/>
                  <a:gd name="connsiteX19" fmla="*/ 83616 w 97552"/>
                  <a:gd name="connsiteY19" fmla="*/ 8500 h 123862"/>
                  <a:gd name="connsiteX20" fmla="*/ 94523 w 97552"/>
                  <a:gd name="connsiteY20" fmla="*/ 33394 h 123862"/>
                  <a:gd name="connsiteX21" fmla="*/ 90888 w 97552"/>
                  <a:gd name="connsiteY21" fmla="*/ 47966 h 123862"/>
                  <a:gd name="connsiteX22" fmla="*/ 76951 w 97552"/>
                  <a:gd name="connsiteY22" fmla="*/ 59502 h 123862"/>
                  <a:gd name="connsiteX23" fmla="*/ 92705 w 97552"/>
                  <a:gd name="connsiteY23" fmla="*/ 70432 h 123862"/>
                  <a:gd name="connsiteX24" fmla="*/ 97552 w 97552"/>
                  <a:gd name="connsiteY24" fmla="*/ 88647 h 123862"/>
                  <a:gd name="connsiteX25" fmla="*/ 87858 w 97552"/>
                  <a:gd name="connsiteY25" fmla="*/ 114148 h 123862"/>
                  <a:gd name="connsiteX26" fmla="*/ 56350 w 97552"/>
                  <a:gd name="connsiteY26" fmla="*/ 123862 h 123862"/>
                  <a:gd name="connsiteX27" fmla="*/ 0 w 97552"/>
                  <a:gd name="connsiteY27" fmla="*/ 123862 h 1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97552" h="123862">
                    <a:moveTo>
                      <a:pt x="56350" y="69217"/>
                    </a:moveTo>
                    <a:lnTo>
                      <a:pt x="19995" y="69217"/>
                    </a:lnTo>
                    <a:lnTo>
                      <a:pt x="19995" y="105647"/>
                    </a:lnTo>
                    <a:lnTo>
                      <a:pt x="56350" y="105647"/>
                    </a:lnTo>
                    <a:cubicBezTo>
                      <a:pt x="64227" y="105647"/>
                      <a:pt x="69680" y="103826"/>
                      <a:pt x="73316" y="100790"/>
                    </a:cubicBezTo>
                    <a:cubicBezTo>
                      <a:pt x="76345" y="97754"/>
                      <a:pt x="78163" y="93504"/>
                      <a:pt x="78163" y="87432"/>
                    </a:cubicBezTo>
                    <a:cubicBezTo>
                      <a:pt x="78163" y="80753"/>
                      <a:pt x="76345" y="76503"/>
                      <a:pt x="72710" y="73467"/>
                    </a:cubicBezTo>
                    <a:cubicBezTo>
                      <a:pt x="69680" y="71039"/>
                      <a:pt x="64227" y="69217"/>
                      <a:pt x="56350" y="69217"/>
                    </a:cubicBezTo>
                    <a:moveTo>
                      <a:pt x="52715" y="17608"/>
                    </a:moveTo>
                    <a:lnTo>
                      <a:pt x="19995" y="17608"/>
                    </a:lnTo>
                    <a:lnTo>
                      <a:pt x="19995" y="52216"/>
                    </a:lnTo>
                    <a:lnTo>
                      <a:pt x="54533" y="52216"/>
                    </a:lnTo>
                    <a:cubicBezTo>
                      <a:pt x="61197" y="52216"/>
                      <a:pt x="66651" y="51002"/>
                      <a:pt x="69680" y="47966"/>
                    </a:cubicBezTo>
                    <a:cubicBezTo>
                      <a:pt x="73316" y="44930"/>
                      <a:pt x="74528" y="40680"/>
                      <a:pt x="74528" y="34609"/>
                    </a:cubicBezTo>
                    <a:cubicBezTo>
                      <a:pt x="74528" y="28537"/>
                      <a:pt x="72710" y="24287"/>
                      <a:pt x="69680" y="21251"/>
                    </a:cubicBezTo>
                    <a:cubicBezTo>
                      <a:pt x="67257" y="19429"/>
                      <a:pt x="61197" y="17608"/>
                      <a:pt x="52715" y="17608"/>
                    </a:cubicBezTo>
                    <a:moveTo>
                      <a:pt x="0" y="123255"/>
                    </a:moveTo>
                    <a:lnTo>
                      <a:pt x="0" y="0"/>
                    </a:lnTo>
                    <a:lnTo>
                      <a:pt x="52715" y="0"/>
                    </a:lnTo>
                    <a:cubicBezTo>
                      <a:pt x="66045" y="0"/>
                      <a:pt x="76345" y="3036"/>
                      <a:pt x="83616" y="8500"/>
                    </a:cubicBezTo>
                    <a:cubicBezTo>
                      <a:pt x="90888" y="13965"/>
                      <a:pt x="94523" y="22465"/>
                      <a:pt x="94523" y="33394"/>
                    </a:cubicBezTo>
                    <a:cubicBezTo>
                      <a:pt x="94523" y="38252"/>
                      <a:pt x="93311" y="43109"/>
                      <a:pt x="90888" y="47966"/>
                    </a:cubicBezTo>
                    <a:cubicBezTo>
                      <a:pt x="88464" y="52824"/>
                      <a:pt x="84222" y="57074"/>
                      <a:pt x="76951" y="59502"/>
                    </a:cubicBezTo>
                    <a:cubicBezTo>
                      <a:pt x="84222" y="61931"/>
                      <a:pt x="89676" y="65574"/>
                      <a:pt x="92705" y="70432"/>
                    </a:cubicBezTo>
                    <a:cubicBezTo>
                      <a:pt x="95735" y="75289"/>
                      <a:pt x="97552" y="81361"/>
                      <a:pt x="97552" y="88647"/>
                    </a:cubicBezTo>
                    <a:cubicBezTo>
                      <a:pt x="97552" y="98968"/>
                      <a:pt x="94523" y="107469"/>
                      <a:pt x="87858" y="114148"/>
                    </a:cubicBezTo>
                    <a:cubicBezTo>
                      <a:pt x="81193" y="120219"/>
                      <a:pt x="70892" y="123862"/>
                      <a:pt x="56350" y="123862"/>
                    </a:cubicBezTo>
                    <a:lnTo>
                      <a:pt x="0" y="123862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626244B5-8B67-EA45-93EB-FAC2151D4D70}"/>
                  </a:ext>
                </a:extLst>
              </p:cNvPr>
              <p:cNvSpPr/>
              <p:nvPr/>
            </p:nvSpPr>
            <p:spPr>
              <a:xfrm>
                <a:off x="1949795" y="5472210"/>
                <a:ext cx="115729" cy="128719"/>
              </a:xfrm>
              <a:custGeom>
                <a:avLst/>
                <a:gdLst>
                  <a:gd name="connsiteX0" fmla="*/ 58774 w 115729"/>
                  <a:gd name="connsiteY0" fmla="*/ 109898 h 128719"/>
                  <a:gd name="connsiteX1" fmla="*/ 86646 w 115729"/>
                  <a:gd name="connsiteY1" fmla="*/ 97754 h 128719"/>
                  <a:gd name="connsiteX2" fmla="*/ 95735 w 115729"/>
                  <a:gd name="connsiteY2" fmla="*/ 63753 h 128719"/>
                  <a:gd name="connsiteX3" fmla="*/ 86646 w 115729"/>
                  <a:gd name="connsiteY3" fmla="*/ 29751 h 128719"/>
                  <a:gd name="connsiteX4" fmla="*/ 58774 w 115729"/>
                  <a:gd name="connsiteY4" fmla="*/ 17608 h 128719"/>
                  <a:gd name="connsiteX5" fmla="*/ 30902 w 115729"/>
                  <a:gd name="connsiteY5" fmla="*/ 29751 h 128719"/>
                  <a:gd name="connsiteX6" fmla="*/ 21207 w 115729"/>
                  <a:gd name="connsiteY6" fmla="*/ 63753 h 128719"/>
                  <a:gd name="connsiteX7" fmla="*/ 31508 w 115729"/>
                  <a:gd name="connsiteY7" fmla="*/ 97754 h 128719"/>
                  <a:gd name="connsiteX8" fmla="*/ 58774 w 115729"/>
                  <a:gd name="connsiteY8" fmla="*/ 109898 h 128719"/>
                  <a:gd name="connsiteX9" fmla="*/ 58774 w 115729"/>
                  <a:gd name="connsiteY9" fmla="*/ 128720 h 128719"/>
                  <a:gd name="connsiteX10" fmla="*/ 35143 w 115729"/>
                  <a:gd name="connsiteY10" fmla="*/ 124470 h 128719"/>
                  <a:gd name="connsiteX11" fmla="*/ 16360 w 115729"/>
                  <a:gd name="connsiteY11" fmla="*/ 112326 h 128719"/>
                  <a:gd name="connsiteX12" fmla="*/ 4241 w 115729"/>
                  <a:gd name="connsiteY12" fmla="*/ 91683 h 128719"/>
                  <a:gd name="connsiteX13" fmla="*/ 0 w 115729"/>
                  <a:gd name="connsiteY13" fmla="*/ 64360 h 128719"/>
                  <a:gd name="connsiteX14" fmla="*/ 16360 w 115729"/>
                  <a:gd name="connsiteY14" fmla="*/ 17001 h 128719"/>
                  <a:gd name="connsiteX15" fmla="*/ 58774 w 115729"/>
                  <a:gd name="connsiteY15" fmla="*/ 0 h 128719"/>
                  <a:gd name="connsiteX16" fmla="*/ 99976 w 115729"/>
                  <a:gd name="connsiteY16" fmla="*/ 17001 h 128719"/>
                  <a:gd name="connsiteX17" fmla="*/ 115730 w 115729"/>
                  <a:gd name="connsiteY17" fmla="*/ 64360 h 128719"/>
                  <a:gd name="connsiteX18" fmla="*/ 99976 w 115729"/>
                  <a:gd name="connsiteY18" fmla="*/ 111719 h 128719"/>
                  <a:gd name="connsiteX19" fmla="*/ 58774 w 115729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29" h="128719">
                    <a:moveTo>
                      <a:pt x="58774" y="109898"/>
                    </a:moveTo>
                    <a:cubicBezTo>
                      <a:pt x="70892" y="109898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5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2" y="89254"/>
                      <a:pt x="31508" y="97754"/>
                    </a:cubicBezTo>
                    <a:cubicBezTo>
                      <a:pt x="37567" y="106255"/>
                      <a:pt x="46655" y="109898"/>
                      <a:pt x="58774" y="109898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3"/>
                    </a:cubicBezTo>
                    <a:cubicBezTo>
                      <a:pt x="1212" y="83789"/>
                      <a:pt x="0" y="74682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5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070" y="122648"/>
                      <a:pt x="75740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97DB53A-131F-8C49-BE87-A3BA6189EB68}"/>
                </a:ext>
              </a:extLst>
            </p:cNvPr>
            <p:cNvSpPr/>
            <p:nvPr/>
          </p:nvSpPr>
          <p:spPr>
            <a:xfrm>
              <a:off x="368960" y="5739365"/>
              <a:ext cx="103611" cy="123255"/>
            </a:xfrm>
            <a:custGeom>
              <a:avLst/>
              <a:gdLst>
                <a:gd name="connsiteX0" fmla="*/ 0 w 103611"/>
                <a:gd name="connsiteY0" fmla="*/ 123255 h 123255"/>
                <a:gd name="connsiteX1" fmla="*/ 0 w 103611"/>
                <a:gd name="connsiteY1" fmla="*/ 0 h 123255"/>
                <a:gd name="connsiteX2" fmla="*/ 103612 w 103611"/>
                <a:gd name="connsiteY2" fmla="*/ 0 h 123255"/>
                <a:gd name="connsiteX3" fmla="*/ 103612 w 103611"/>
                <a:gd name="connsiteY3" fmla="*/ 123255 h 123255"/>
                <a:gd name="connsiteX4" fmla="*/ 83011 w 103611"/>
                <a:gd name="connsiteY4" fmla="*/ 123255 h 123255"/>
                <a:gd name="connsiteX5" fmla="*/ 83011 w 103611"/>
                <a:gd name="connsiteY5" fmla="*/ 19429 h 123255"/>
                <a:gd name="connsiteX6" fmla="*/ 19995 w 103611"/>
                <a:gd name="connsiteY6" fmla="*/ 19429 h 123255"/>
                <a:gd name="connsiteX7" fmla="*/ 19995 w 103611"/>
                <a:gd name="connsiteY7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3611" h="123255">
                  <a:moveTo>
                    <a:pt x="0" y="123255"/>
                  </a:moveTo>
                  <a:lnTo>
                    <a:pt x="0" y="0"/>
                  </a:lnTo>
                  <a:lnTo>
                    <a:pt x="103612" y="0"/>
                  </a:lnTo>
                  <a:lnTo>
                    <a:pt x="103612" y="123255"/>
                  </a:lnTo>
                  <a:lnTo>
                    <a:pt x="83011" y="123255"/>
                  </a:lnTo>
                  <a:lnTo>
                    <a:pt x="83011" y="19429"/>
                  </a:lnTo>
                  <a:lnTo>
                    <a:pt x="19995" y="19429"/>
                  </a:lnTo>
                  <a:lnTo>
                    <a:pt x="19995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7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510744" y="5736329"/>
              <a:ext cx="528358" cy="176686"/>
              <a:chOff x="510744" y="5736329"/>
              <a:chExt cx="528358" cy="176686"/>
            </a:xfrm>
            <a:solidFill>
              <a:srgbClr val="CFD4D9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A249D0CB-EE4B-3E45-8696-08D1A154EDB4}"/>
                  </a:ext>
                </a:extLst>
              </p:cNvPr>
              <p:cNvSpPr/>
              <p:nvPr/>
            </p:nvSpPr>
            <p:spPr>
              <a:xfrm>
                <a:off x="510744" y="5736329"/>
                <a:ext cx="116335" cy="176686"/>
              </a:xfrm>
              <a:custGeom>
                <a:avLst/>
                <a:gdLst>
                  <a:gd name="connsiteX0" fmla="*/ 20601 w 116335"/>
                  <a:gd name="connsiteY0" fmla="*/ 74682 h 176686"/>
                  <a:gd name="connsiteX1" fmla="*/ 32114 w 116335"/>
                  <a:gd name="connsiteY1" fmla="*/ 100790 h 176686"/>
                  <a:gd name="connsiteX2" fmla="*/ 59380 w 116335"/>
                  <a:gd name="connsiteY2" fmla="*/ 110505 h 176686"/>
                  <a:gd name="connsiteX3" fmla="*/ 86040 w 116335"/>
                  <a:gd name="connsiteY3" fmla="*/ 97754 h 176686"/>
                  <a:gd name="connsiteX4" fmla="*/ 95735 w 116335"/>
                  <a:gd name="connsiteY4" fmla="*/ 63753 h 176686"/>
                  <a:gd name="connsiteX5" fmla="*/ 86040 w 116335"/>
                  <a:gd name="connsiteY5" fmla="*/ 30966 h 176686"/>
                  <a:gd name="connsiteX6" fmla="*/ 58774 w 116335"/>
                  <a:gd name="connsiteY6" fmla="*/ 18215 h 176686"/>
                  <a:gd name="connsiteX7" fmla="*/ 44838 w 116335"/>
                  <a:gd name="connsiteY7" fmla="*/ 20644 h 176686"/>
                  <a:gd name="connsiteX8" fmla="*/ 32719 w 116335"/>
                  <a:gd name="connsiteY8" fmla="*/ 28537 h 176686"/>
                  <a:gd name="connsiteX9" fmla="*/ 24237 w 116335"/>
                  <a:gd name="connsiteY9" fmla="*/ 41287 h 176686"/>
                  <a:gd name="connsiteX10" fmla="*/ 21207 w 116335"/>
                  <a:gd name="connsiteY10" fmla="*/ 58895 h 176686"/>
                  <a:gd name="connsiteX11" fmla="*/ 21207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20601" y="74682"/>
                    </a:moveTo>
                    <a:cubicBezTo>
                      <a:pt x="20601" y="86218"/>
                      <a:pt x="24237" y="94718"/>
                      <a:pt x="32114" y="100790"/>
                    </a:cubicBezTo>
                    <a:cubicBezTo>
                      <a:pt x="39990" y="106862"/>
                      <a:pt x="49079" y="110505"/>
                      <a:pt x="59380" y="110505"/>
                    </a:cubicBezTo>
                    <a:cubicBezTo>
                      <a:pt x="70892" y="110505"/>
                      <a:pt x="79375" y="106255"/>
                      <a:pt x="86040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50395"/>
                      <a:pt x="92705" y="39466"/>
                      <a:pt x="86040" y="30966"/>
                    </a:cubicBezTo>
                    <a:cubicBezTo>
                      <a:pt x="79375" y="22465"/>
                      <a:pt x="70286" y="18215"/>
                      <a:pt x="58774" y="18215"/>
                    </a:cubicBezTo>
                    <a:cubicBezTo>
                      <a:pt x="53927" y="18215"/>
                      <a:pt x="49079" y="18822"/>
                      <a:pt x="44838" y="20644"/>
                    </a:cubicBezTo>
                    <a:cubicBezTo>
                      <a:pt x="40596" y="22465"/>
                      <a:pt x="36355" y="24894"/>
                      <a:pt x="32719" y="28537"/>
                    </a:cubicBezTo>
                    <a:cubicBezTo>
                      <a:pt x="29084" y="32180"/>
                      <a:pt x="26054" y="36430"/>
                      <a:pt x="24237" y="41287"/>
                    </a:cubicBezTo>
                    <a:cubicBezTo>
                      <a:pt x="21813" y="46752"/>
                      <a:pt x="21207" y="52217"/>
                      <a:pt x="21207" y="58895"/>
                    </a:cubicBezTo>
                    <a:lnTo>
                      <a:pt x="21207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2751"/>
                      <a:pt x="30902" y="8500"/>
                      <a:pt x="38779" y="4857"/>
                    </a:cubicBezTo>
                    <a:cubicBezTo>
                      <a:pt x="46050" y="1822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1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1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A0238FBC-0874-684E-AFE4-D967BC9CEF5B}"/>
                  </a:ext>
                </a:extLst>
              </p:cNvPr>
              <p:cNvSpPr/>
              <p:nvPr/>
            </p:nvSpPr>
            <p:spPr>
              <a:xfrm>
                <a:off x="650711" y="5736936"/>
                <a:ext cx="115730" cy="128719"/>
              </a:xfrm>
              <a:custGeom>
                <a:avLst/>
                <a:gdLst>
                  <a:gd name="connsiteX0" fmla="*/ 58774 w 115730"/>
                  <a:gd name="connsiteY0" fmla="*/ 109897 h 128719"/>
                  <a:gd name="connsiteX1" fmla="*/ 86646 w 115730"/>
                  <a:gd name="connsiteY1" fmla="*/ 97754 h 128719"/>
                  <a:gd name="connsiteX2" fmla="*/ 95735 w 115730"/>
                  <a:gd name="connsiteY2" fmla="*/ 63753 h 128719"/>
                  <a:gd name="connsiteX3" fmla="*/ 86646 w 115730"/>
                  <a:gd name="connsiteY3" fmla="*/ 29751 h 128719"/>
                  <a:gd name="connsiteX4" fmla="*/ 58774 w 115730"/>
                  <a:gd name="connsiteY4" fmla="*/ 17608 h 128719"/>
                  <a:gd name="connsiteX5" fmla="*/ 30902 w 115730"/>
                  <a:gd name="connsiteY5" fmla="*/ 29751 h 128719"/>
                  <a:gd name="connsiteX6" fmla="*/ 21207 w 115730"/>
                  <a:gd name="connsiteY6" fmla="*/ 63753 h 128719"/>
                  <a:gd name="connsiteX7" fmla="*/ 31508 w 115730"/>
                  <a:gd name="connsiteY7" fmla="*/ 97754 h 128719"/>
                  <a:gd name="connsiteX8" fmla="*/ 58774 w 115730"/>
                  <a:gd name="connsiteY8" fmla="*/ 109897 h 128719"/>
                  <a:gd name="connsiteX9" fmla="*/ 58774 w 115730"/>
                  <a:gd name="connsiteY9" fmla="*/ 128720 h 128719"/>
                  <a:gd name="connsiteX10" fmla="*/ 35143 w 115730"/>
                  <a:gd name="connsiteY10" fmla="*/ 124470 h 128719"/>
                  <a:gd name="connsiteX11" fmla="*/ 16360 w 115730"/>
                  <a:gd name="connsiteY11" fmla="*/ 112326 h 128719"/>
                  <a:gd name="connsiteX12" fmla="*/ 4241 w 115730"/>
                  <a:gd name="connsiteY12" fmla="*/ 91682 h 128719"/>
                  <a:gd name="connsiteX13" fmla="*/ 0 w 115730"/>
                  <a:gd name="connsiteY13" fmla="*/ 64360 h 128719"/>
                  <a:gd name="connsiteX14" fmla="*/ 16360 w 115730"/>
                  <a:gd name="connsiteY14" fmla="*/ 17001 h 128719"/>
                  <a:gd name="connsiteX15" fmla="*/ 58774 w 115730"/>
                  <a:gd name="connsiteY15" fmla="*/ 0 h 128719"/>
                  <a:gd name="connsiteX16" fmla="*/ 99976 w 115730"/>
                  <a:gd name="connsiteY16" fmla="*/ 17001 h 128719"/>
                  <a:gd name="connsiteX17" fmla="*/ 115730 w 115730"/>
                  <a:gd name="connsiteY17" fmla="*/ 64360 h 128719"/>
                  <a:gd name="connsiteX18" fmla="*/ 99976 w 115730"/>
                  <a:gd name="connsiteY18" fmla="*/ 111719 h 128719"/>
                  <a:gd name="connsiteX19" fmla="*/ 58774 w 115730"/>
                  <a:gd name="connsiteY19" fmla="*/ 128720 h 128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5730" h="128719">
                    <a:moveTo>
                      <a:pt x="58774" y="109897"/>
                    </a:moveTo>
                    <a:cubicBezTo>
                      <a:pt x="70892" y="109897"/>
                      <a:pt x="79981" y="105647"/>
                      <a:pt x="86646" y="97754"/>
                    </a:cubicBezTo>
                    <a:cubicBezTo>
                      <a:pt x="92705" y="89254"/>
                      <a:pt x="95735" y="78325"/>
                      <a:pt x="95735" y="63753"/>
                    </a:cubicBezTo>
                    <a:cubicBezTo>
                      <a:pt x="95735" y="49181"/>
                      <a:pt x="92705" y="38252"/>
                      <a:pt x="86646" y="29751"/>
                    </a:cubicBezTo>
                    <a:cubicBezTo>
                      <a:pt x="80587" y="21858"/>
                      <a:pt x="71498" y="17608"/>
                      <a:pt x="58774" y="17608"/>
                    </a:cubicBezTo>
                    <a:cubicBezTo>
                      <a:pt x="46656" y="17608"/>
                      <a:pt x="37567" y="21858"/>
                      <a:pt x="30902" y="29751"/>
                    </a:cubicBezTo>
                    <a:cubicBezTo>
                      <a:pt x="24237" y="37644"/>
                      <a:pt x="21207" y="49181"/>
                      <a:pt x="21207" y="63753"/>
                    </a:cubicBezTo>
                    <a:cubicBezTo>
                      <a:pt x="21207" y="78325"/>
                      <a:pt x="24843" y="89254"/>
                      <a:pt x="31508" y="97754"/>
                    </a:cubicBezTo>
                    <a:cubicBezTo>
                      <a:pt x="37567" y="106255"/>
                      <a:pt x="47261" y="109897"/>
                      <a:pt x="58774" y="109897"/>
                    </a:cubicBezTo>
                    <a:moveTo>
                      <a:pt x="58774" y="128720"/>
                    </a:moveTo>
                    <a:cubicBezTo>
                      <a:pt x="50291" y="128720"/>
                      <a:pt x="42414" y="127505"/>
                      <a:pt x="35143" y="124470"/>
                    </a:cubicBezTo>
                    <a:cubicBezTo>
                      <a:pt x="27872" y="121434"/>
                      <a:pt x="21813" y="117184"/>
                      <a:pt x="16360" y="112326"/>
                    </a:cubicBezTo>
                    <a:cubicBezTo>
                      <a:pt x="11512" y="106862"/>
                      <a:pt x="7271" y="100183"/>
                      <a:pt x="4241" y="91682"/>
                    </a:cubicBezTo>
                    <a:cubicBezTo>
                      <a:pt x="1212" y="83789"/>
                      <a:pt x="0" y="74075"/>
                      <a:pt x="0" y="64360"/>
                    </a:cubicBezTo>
                    <a:cubicBezTo>
                      <a:pt x="0" y="43716"/>
                      <a:pt x="5453" y="27930"/>
                      <a:pt x="16360" y="17001"/>
                    </a:cubicBezTo>
                    <a:cubicBezTo>
                      <a:pt x="27266" y="6072"/>
                      <a:pt x="41202" y="0"/>
                      <a:pt x="58774" y="0"/>
                    </a:cubicBezTo>
                    <a:cubicBezTo>
                      <a:pt x="75740" y="0"/>
                      <a:pt x="89676" y="5464"/>
                      <a:pt x="99976" y="17001"/>
                    </a:cubicBezTo>
                    <a:cubicBezTo>
                      <a:pt x="110277" y="27930"/>
                      <a:pt x="115730" y="43716"/>
                      <a:pt x="115730" y="64360"/>
                    </a:cubicBezTo>
                    <a:cubicBezTo>
                      <a:pt x="115730" y="84396"/>
                      <a:pt x="110277" y="100183"/>
                      <a:pt x="99976" y="111719"/>
                    </a:cubicBezTo>
                    <a:cubicBezTo>
                      <a:pt x="89676" y="122648"/>
                      <a:pt x="75740" y="128720"/>
                      <a:pt x="58774" y="128720"/>
                    </a:cubicBezTo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8556FAA1-642F-2748-B827-7206E707245F}"/>
                  </a:ext>
                </a:extLst>
              </p:cNvPr>
              <p:cNvSpPr/>
              <p:nvPr/>
            </p:nvSpPr>
            <p:spPr>
              <a:xfrm>
                <a:off x="777347" y="5739365"/>
                <a:ext cx="136331" cy="158471"/>
              </a:xfrm>
              <a:custGeom>
                <a:avLst/>
                <a:gdLst>
                  <a:gd name="connsiteX0" fmla="*/ 47867 w 136331"/>
                  <a:gd name="connsiteY0" fmla="*/ 71039 h 158471"/>
                  <a:gd name="connsiteX1" fmla="*/ 43626 w 136331"/>
                  <a:gd name="connsiteY1" fmla="*/ 89861 h 158471"/>
                  <a:gd name="connsiteX2" fmla="*/ 36355 w 136331"/>
                  <a:gd name="connsiteY2" fmla="*/ 103826 h 158471"/>
                  <a:gd name="connsiteX3" fmla="*/ 96341 w 136331"/>
                  <a:gd name="connsiteY3" fmla="*/ 103826 h 158471"/>
                  <a:gd name="connsiteX4" fmla="*/ 96341 w 136331"/>
                  <a:gd name="connsiteY4" fmla="*/ 18822 h 158471"/>
                  <a:gd name="connsiteX5" fmla="*/ 49685 w 136331"/>
                  <a:gd name="connsiteY5" fmla="*/ 18822 h 158471"/>
                  <a:gd name="connsiteX6" fmla="*/ 49685 w 136331"/>
                  <a:gd name="connsiteY6" fmla="*/ 49788 h 158471"/>
                  <a:gd name="connsiteX7" fmla="*/ 47867 w 136331"/>
                  <a:gd name="connsiteY7" fmla="*/ 71039 h 158471"/>
                  <a:gd name="connsiteX8" fmla="*/ 0 w 136331"/>
                  <a:gd name="connsiteY8" fmla="*/ 104433 h 158471"/>
                  <a:gd name="connsiteX9" fmla="*/ 12724 w 136331"/>
                  <a:gd name="connsiteY9" fmla="*/ 104433 h 158471"/>
                  <a:gd name="connsiteX10" fmla="*/ 23631 w 136331"/>
                  <a:gd name="connsiteY10" fmla="*/ 89254 h 158471"/>
                  <a:gd name="connsiteX11" fmla="*/ 28478 w 136331"/>
                  <a:gd name="connsiteY11" fmla="*/ 68610 h 158471"/>
                  <a:gd name="connsiteX12" fmla="*/ 29084 w 136331"/>
                  <a:gd name="connsiteY12" fmla="*/ 58895 h 158471"/>
                  <a:gd name="connsiteX13" fmla="*/ 29690 w 136331"/>
                  <a:gd name="connsiteY13" fmla="*/ 45538 h 158471"/>
                  <a:gd name="connsiteX14" fmla="*/ 29690 w 136331"/>
                  <a:gd name="connsiteY14" fmla="*/ 26715 h 158471"/>
                  <a:gd name="connsiteX15" fmla="*/ 29690 w 136331"/>
                  <a:gd name="connsiteY15" fmla="*/ 0 h 158471"/>
                  <a:gd name="connsiteX16" fmla="*/ 116336 w 136331"/>
                  <a:gd name="connsiteY16" fmla="*/ 0 h 158471"/>
                  <a:gd name="connsiteX17" fmla="*/ 116336 w 136331"/>
                  <a:gd name="connsiteY17" fmla="*/ 104433 h 158471"/>
                  <a:gd name="connsiteX18" fmla="*/ 136331 w 136331"/>
                  <a:gd name="connsiteY18" fmla="*/ 104433 h 158471"/>
                  <a:gd name="connsiteX19" fmla="*/ 136331 w 136331"/>
                  <a:gd name="connsiteY19" fmla="*/ 158471 h 158471"/>
                  <a:gd name="connsiteX20" fmla="*/ 116336 w 136331"/>
                  <a:gd name="connsiteY20" fmla="*/ 158471 h 158471"/>
                  <a:gd name="connsiteX21" fmla="*/ 116336 w 136331"/>
                  <a:gd name="connsiteY21" fmla="*/ 123862 h 158471"/>
                  <a:gd name="connsiteX22" fmla="*/ 19995 w 136331"/>
                  <a:gd name="connsiteY22" fmla="*/ 123862 h 158471"/>
                  <a:gd name="connsiteX23" fmla="*/ 19995 w 136331"/>
                  <a:gd name="connsiteY23" fmla="*/ 158471 h 158471"/>
                  <a:gd name="connsiteX24" fmla="*/ 0 w 136331"/>
                  <a:gd name="connsiteY24" fmla="*/ 158471 h 158471"/>
                  <a:gd name="connsiteX25" fmla="*/ 0 w 136331"/>
                  <a:gd name="connsiteY25" fmla="*/ 104433 h 158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36331" h="158471">
                    <a:moveTo>
                      <a:pt x="47867" y="71039"/>
                    </a:moveTo>
                    <a:cubicBezTo>
                      <a:pt x="47261" y="78325"/>
                      <a:pt x="45444" y="84396"/>
                      <a:pt x="43626" y="89861"/>
                    </a:cubicBezTo>
                    <a:cubicBezTo>
                      <a:pt x="41202" y="95325"/>
                      <a:pt x="38779" y="100183"/>
                      <a:pt x="36355" y="103826"/>
                    </a:cubicBezTo>
                    <a:lnTo>
                      <a:pt x="96341" y="103826"/>
                    </a:lnTo>
                    <a:lnTo>
                      <a:pt x="96341" y="18822"/>
                    </a:lnTo>
                    <a:lnTo>
                      <a:pt x="49685" y="18822"/>
                    </a:lnTo>
                    <a:cubicBezTo>
                      <a:pt x="49685" y="30966"/>
                      <a:pt x="49685" y="41287"/>
                      <a:pt x="49685" y="49788"/>
                    </a:cubicBezTo>
                    <a:cubicBezTo>
                      <a:pt x="48473" y="59503"/>
                      <a:pt x="48473" y="66181"/>
                      <a:pt x="47867" y="71039"/>
                    </a:cubicBezTo>
                    <a:moveTo>
                      <a:pt x="0" y="104433"/>
                    </a:moveTo>
                    <a:lnTo>
                      <a:pt x="12724" y="104433"/>
                    </a:lnTo>
                    <a:cubicBezTo>
                      <a:pt x="16966" y="100790"/>
                      <a:pt x="20601" y="95933"/>
                      <a:pt x="23631" y="89254"/>
                    </a:cubicBezTo>
                    <a:cubicBezTo>
                      <a:pt x="26660" y="82575"/>
                      <a:pt x="28478" y="75896"/>
                      <a:pt x="28478" y="68610"/>
                    </a:cubicBezTo>
                    <a:cubicBezTo>
                      <a:pt x="28478" y="65574"/>
                      <a:pt x="29084" y="62538"/>
                      <a:pt x="29084" y="58895"/>
                    </a:cubicBezTo>
                    <a:cubicBezTo>
                      <a:pt x="29084" y="55252"/>
                      <a:pt x="29084" y="51002"/>
                      <a:pt x="29690" y="45538"/>
                    </a:cubicBezTo>
                    <a:cubicBezTo>
                      <a:pt x="29690" y="40073"/>
                      <a:pt x="29690" y="34001"/>
                      <a:pt x="29690" y="26715"/>
                    </a:cubicBezTo>
                    <a:cubicBezTo>
                      <a:pt x="29690" y="19429"/>
                      <a:pt x="29690" y="10322"/>
                      <a:pt x="29690" y="0"/>
                    </a:cubicBezTo>
                    <a:lnTo>
                      <a:pt x="116336" y="0"/>
                    </a:lnTo>
                    <a:lnTo>
                      <a:pt x="116336" y="104433"/>
                    </a:lnTo>
                    <a:lnTo>
                      <a:pt x="136331" y="104433"/>
                    </a:lnTo>
                    <a:lnTo>
                      <a:pt x="136331" y="158471"/>
                    </a:lnTo>
                    <a:lnTo>
                      <a:pt x="116336" y="158471"/>
                    </a:lnTo>
                    <a:lnTo>
                      <a:pt x="116336" y="123862"/>
                    </a:lnTo>
                    <a:lnTo>
                      <a:pt x="19995" y="123862"/>
                    </a:lnTo>
                    <a:lnTo>
                      <a:pt x="19995" y="158471"/>
                    </a:lnTo>
                    <a:lnTo>
                      <a:pt x="0" y="158471"/>
                    </a:lnTo>
                    <a:lnTo>
                      <a:pt x="0" y="104433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CBF366C2-5026-274D-BB00-A1AF7BE53D59}"/>
                  </a:ext>
                </a:extLst>
              </p:cNvPr>
              <p:cNvSpPr/>
              <p:nvPr/>
            </p:nvSpPr>
            <p:spPr>
              <a:xfrm>
                <a:off x="919738" y="5739365"/>
                <a:ext cx="119365" cy="173650"/>
              </a:xfrm>
              <a:custGeom>
                <a:avLst/>
                <a:gdLst>
                  <a:gd name="connsiteX0" fmla="*/ 63621 w 119365"/>
                  <a:gd name="connsiteY0" fmla="*/ 142685 h 173650"/>
                  <a:gd name="connsiteX1" fmla="*/ 47261 w 119365"/>
                  <a:gd name="connsiteY1" fmla="*/ 166971 h 173650"/>
                  <a:gd name="connsiteX2" fmla="*/ 24237 w 119365"/>
                  <a:gd name="connsiteY2" fmla="*/ 173650 h 173650"/>
                  <a:gd name="connsiteX3" fmla="*/ 12724 w 119365"/>
                  <a:gd name="connsiteY3" fmla="*/ 173650 h 173650"/>
                  <a:gd name="connsiteX4" fmla="*/ 12724 w 119365"/>
                  <a:gd name="connsiteY4" fmla="*/ 154221 h 173650"/>
                  <a:gd name="connsiteX5" fmla="*/ 20601 w 119365"/>
                  <a:gd name="connsiteY5" fmla="*/ 154221 h 173650"/>
                  <a:gd name="connsiteX6" fmla="*/ 35749 w 119365"/>
                  <a:gd name="connsiteY6" fmla="*/ 150578 h 173650"/>
                  <a:gd name="connsiteX7" fmla="*/ 46050 w 119365"/>
                  <a:gd name="connsiteY7" fmla="*/ 136006 h 173650"/>
                  <a:gd name="connsiteX8" fmla="*/ 51503 w 119365"/>
                  <a:gd name="connsiteY8" fmla="*/ 122648 h 173650"/>
                  <a:gd name="connsiteX9" fmla="*/ 0 w 119365"/>
                  <a:gd name="connsiteY9" fmla="*/ 0 h 173650"/>
                  <a:gd name="connsiteX10" fmla="*/ 22419 w 119365"/>
                  <a:gd name="connsiteY10" fmla="*/ 0 h 173650"/>
                  <a:gd name="connsiteX11" fmla="*/ 62409 w 119365"/>
                  <a:gd name="connsiteY11" fmla="*/ 97754 h 173650"/>
                  <a:gd name="connsiteX12" fmla="*/ 98158 w 119365"/>
                  <a:gd name="connsiteY12" fmla="*/ 0 h 173650"/>
                  <a:gd name="connsiteX13" fmla="*/ 119366 w 119365"/>
                  <a:gd name="connsiteY13" fmla="*/ 0 h 173650"/>
                  <a:gd name="connsiteX14" fmla="*/ 63621 w 119365"/>
                  <a:gd name="connsiteY14" fmla="*/ 142685 h 173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9365" h="173650">
                    <a:moveTo>
                      <a:pt x="63621" y="142685"/>
                    </a:moveTo>
                    <a:cubicBezTo>
                      <a:pt x="58774" y="154221"/>
                      <a:pt x="53927" y="162721"/>
                      <a:pt x="47261" y="166971"/>
                    </a:cubicBezTo>
                    <a:cubicBezTo>
                      <a:pt x="41202" y="171829"/>
                      <a:pt x="33325" y="173650"/>
                      <a:pt x="24237" y="173650"/>
                    </a:cubicBezTo>
                    <a:lnTo>
                      <a:pt x="12724" y="173650"/>
                    </a:lnTo>
                    <a:lnTo>
                      <a:pt x="12724" y="154221"/>
                    </a:lnTo>
                    <a:lnTo>
                      <a:pt x="20601" y="154221"/>
                    </a:lnTo>
                    <a:cubicBezTo>
                      <a:pt x="26660" y="154221"/>
                      <a:pt x="31508" y="153006"/>
                      <a:pt x="35749" y="150578"/>
                    </a:cubicBezTo>
                    <a:cubicBezTo>
                      <a:pt x="39991" y="148149"/>
                      <a:pt x="43626" y="143292"/>
                      <a:pt x="46050" y="136006"/>
                    </a:cubicBezTo>
                    <a:lnTo>
                      <a:pt x="51503" y="122648"/>
                    </a:lnTo>
                    <a:lnTo>
                      <a:pt x="0" y="0"/>
                    </a:lnTo>
                    <a:lnTo>
                      <a:pt x="22419" y="0"/>
                    </a:lnTo>
                    <a:lnTo>
                      <a:pt x="62409" y="97754"/>
                    </a:lnTo>
                    <a:lnTo>
                      <a:pt x="98158" y="0"/>
                    </a:lnTo>
                    <a:lnTo>
                      <a:pt x="119366" y="0"/>
                    </a:lnTo>
                    <a:lnTo>
                      <a:pt x="63621" y="142685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49747A05-B75D-0740-8253-04BC786E7B96}"/>
                </a:ext>
              </a:extLst>
            </p:cNvPr>
            <p:cNvSpPr/>
            <p:nvPr/>
          </p:nvSpPr>
          <p:spPr>
            <a:xfrm>
              <a:off x="1060310" y="5739365"/>
              <a:ext cx="142390" cy="123255"/>
            </a:xfrm>
            <a:custGeom>
              <a:avLst/>
              <a:gdLst>
                <a:gd name="connsiteX0" fmla="*/ 0 w 142390"/>
                <a:gd name="connsiteY0" fmla="*/ 123255 h 123255"/>
                <a:gd name="connsiteX1" fmla="*/ 0 w 142390"/>
                <a:gd name="connsiteY1" fmla="*/ 0 h 123255"/>
                <a:gd name="connsiteX2" fmla="*/ 30296 w 142390"/>
                <a:gd name="connsiteY2" fmla="*/ 0 h 123255"/>
                <a:gd name="connsiteX3" fmla="*/ 71498 w 142390"/>
                <a:gd name="connsiteY3" fmla="*/ 103219 h 123255"/>
                <a:gd name="connsiteX4" fmla="*/ 113306 w 142390"/>
                <a:gd name="connsiteY4" fmla="*/ 0 h 123255"/>
                <a:gd name="connsiteX5" fmla="*/ 142390 w 142390"/>
                <a:gd name="connsiteY5" fmla="*/ 0 h 123255"/>
                <a:gd name="connsiteX6" fmla="*/ 142390 w 142390"/>
                <a:gd name="connsiteY6" fmla="*/ 123255 h 123255"/>
                <a:gd name="connsiteX7" fmla="*/ 122395 w 142390"/>
                <a:gd name="connsiteY7" fmla="*/ 123255 h 123255"/>
                <a:gd name="connsiteX8" fmla="*/ 122395 w 142390"/>
                <a:gd name="connsiteY8" fmla="*/ 22465 h 123255"/>
                <a:gd name="connsiteX9" fmla="*/ 81193 w 142390"/>
                <a:gd name="connsiteY9" fmla="*/ 123255 h 123255"/>
                <a:gd name="connsiteX10" fmla="*/ 59986 w 142390"/>
                <a:gd name="connsiteY10" fmla="*/ 123255 h 123255"/>
                <a:gd name="connsiteX11" fmla="*/ 18783 w 142390"/>
                <a:gd name="connsiteY11" fmla="*/ 22465 h 123255"/>
                <a:gd name="connsiteX12" fmla="*/ 18783 w 142390"/>
                <a:gd name="connsiteY12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2390" h="123255">
                  <a:moveTo>
                    <a:pt x="0" y="123255"/>
                  </a:moveTo>
                  <a:lnTo>
                    <a:pt x="0" y="0"/>
                  </a:lnTo>
                  <a:lnTo>
                    <a:pt x="30296" y="0"/>
                  </a:lnTo>
                  <a:lnTo>
                    <a:pt x="71498" y="103219"/>
                  </a:lnTo>
                  <a:lnTo>
                    <a:pt x="113306" y="0"/>
                  </a:lnTo>
                  <a:lnTo>
                    <a:pt x="142390" y="0"/>
                  </a:lnTo>
                  <a:lnTo>
                    <a:pt x="142390" y="123255"/>
                  </a:lnTo>
                  <a:lnTo>
                    <a:pt x="122395" y="123255"/>
                  </a:lnTo>
                  <a:lnTo>
                    <a:pt x="122395" y="22465"/>
                  </a:lnTo>
                  <a:lnTo>
                    <a:pt x="81193" y="123255"/>
                  </a:lnTo>
                  <a:lnTo>
                    <a:pt x="59986" y="123255"/>
                  </a:lnTo>
                  <a:lnTo>
                    <a:pt x="18783" y="22465"/>
                  </a:lnTo>
                  <a:lnTo>
                    <a:pt x="18783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32EE0B4E-9BA3-DD48-97DB-A444742C390B}"/>
                </a:ext>
              </a:extLst>
            </p:cNvPr>
            <p:cNvSpPr/>
            <p:nvPr/>
          </p:nvSpPr>
          <p:spPr>
            <a:xfrm>
              <a:off x="1235420" y="5736936"/>
              <a:ext cx="100582" cy="128112"/>
            </a:xfrm>
            <a:custGeom>
              <a:avLst/>
              <a:gdLst>
                <a:gd name="connsiteX0" fmla="*/ 80587 w 100582"/>
                <a:gd name="connsiteY0" fmla="*/ 71039 h 128112"/>
                <a:gd name="connsiteX1" fmla="*/ 64227 w 100582"/>
                <a:gd name="connsiteY1" fmla="*/ 71039 h 128112"/>
                <a:gd name="connsiteX2" fmla="*/ 46656 w 100582"/>
                <a:gd name="connsiteY2" fmla="*/ 71039 h 128112"/>
                <a:gd name="connsiteX3" fmla="*/ 27266 w 100582"/>
                <a:gd name="connsiteY3" fmla="*/ 76503 h 128112"/>
                <a:gd name="connsiteX4" fmla="*/ 20601 w 100582"/>
                <a:gd name="connsiteY4" fmla="*/ 91075 h 128112"/>
                <a:gd name="connsiteX5" fmla="*/ 26660 w 100582"/>
                <a:gd name="connsiteY5" fmla="*/ 105040 h 128112"/>
                <a:gd name="connsiteX6" fmla="*/ 43626 w 100582"/>
                <a:gd name="connsiteY6" fmla="*/ 110505 h 128112"/>
                <a:gd name="connsiteX7" fmla="*/ 69680 w 100582"/>
                <a:gd name="connsiteY7" fmla="*/ 102611 h 128112"/>
                <a:gd name="connsiteX8" fmla="*/ 80587 w 100582"/>
                <a:gd name="connsiteY8" fmla="*/ 82575 h 128112"/>
                <a:gd name="connsiteX9" fmla="*/ 80587 w 100582"/>
                <a:gd name="connsiteY9" fmla="*/ 71039 h 128112"/>
                <a:gd name="connsiteX10" fmla="*/ 81799 w 100582"/>
                <a:gd name="connsiteY10" fmla="*/ 125684 h 128112"/>
                <a:gd name="connsiteX11" fmla="*/ 81799 w 100582"/>
                <a:gd name="connsiteY11" fmla="*/ 111112 h 128112"/>
                <a:gd name="connsiteX12" fmla="*/ 66045 w 100582"/>
                <a:gd name="connsiteY12" fmla="*/ 123255 h 128112"/>
                <a:gd name="connsiteX13" fmla="*/ 43020 w 100582"/>
                <a:gd name="connsiteY13" fmla="*/ 128113 h 128112"/>
                <a:gd name="connsiteX14" fmla="*/ 11512 w 100582"/>
                <a:gd name="connsiteY14" fmla="*/ 118398 h 128112"/>
                <a:gd name="connsiteX15" fmla="*/ 0 w 100582"/>
                <a:gd name="connsiteY15" fmla="*/ 91682 h 128112"/>
                <a:gd name="connsiteX16" fmla="*/ 12724 w 100582"/>
                <a:gd name="connsiteY16" fmla="*/ 63753 h 128112"/>
                <a:gd name="connsiteX17" fmla="*/ 46656 w 100582"/>
                <a:gd name="connsiteY17" fmla="*/ 54645 h 128112"/>
                <a:gd name="connsiteX18" fmla="*/ 64227 w 100582"/>
                <a:gd name="connsiteY18" fmla="*/ 54645 h 128112"/>
                <a:gd name="connsiteX19" fmla="*/ 80587 w 100582"/>
                <a:gd name="connsiteY19" fmla="*/ 55252 h 128112"/>
                <a:gd name="connsiteX20" fmla="*/ 80587 w 100582"/>
                <a:gd name="connsiteY20" fmla="*/ 44323 h 128112"/>
                <a:gd name="connsiteX21" fmla="*/ 72710 w 100582"/>
                <a:gd name="connsiteY21" fmla="*/ 24894 h 128112"/>
                <a:gd name="connsiteX22" fmla="*/ 53321 w 100582"/>
                <a:gd name="connsiteY22" fmla="*/ 18822 h 128112"/>
                <a:gd name="connsiteX23" fmla="*/ 33325 w 100582"/>
                <a:gd name="connsiteY23" fmla="*/ 25501 h 128112"/>
                <a:gd name="connsiteX24" fmla="*/ 23631 w 100582"/>
                <a:gd name="connsiteY24" fmla="*/ 41287 h 128112"/>
                <a:gd name="connsiteX25" fmla="*/ 4241 w 100582"/>
                <a:gd name="connsiteY25" fmla="*/ 37037 h 128112"/>
                <a:gd name="connsiteX26" fmla="*/ 20601 w 100582"/>
                <a:gd name="connsiteY26" fmla="*/ 10322 h 128112"/>
                <a:gd name="connsiteX27" fmla="*/ 53321 w 100582"/>
                <a:gd name="connsiteY27" fmla="*/ 0 h 128112"/>
                <a:gd name="connsiteX28" fmla="*/ 87252 w 100582"/>
                <a:gd name="connsiteY28" fmla="*/ 10322 h 128112"/>
                <a:gd name="connsiteX29" fmla="*/ 100582 w 100582"/>
                <a:gd name="connsiteY29" fmla="*/ 43109 h 128112"/>
                <a:gd name="connsiteX30" fmla="*/ 100582 w 100582"/>
                <a:gd name="connsiteY30" fmla="*/ 125684 h 128112"/>
                <a:gd name="connsiteX31" fmla="*/ 81799 w 100582"/>
                <a:gd name="connsiteY31" fmla="*/ 125684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582" h="128112">
                  <a:moveTo>
                    <a:pt x="80587" y="71039"/>
                  </a:moveTo>
                  <a:cubicBezTo>
                    <a:pt x="75740" y="71039"/>
                    <a:pt x="70286" y="71039"/>
                    <a:pt x="64227" y="71039"/>
                  </a:cubicBezTo>
                  <a:cubicBezTo>
                    <a:pt x="58774" y="71039"/>
                    <a:pt x="52715" y="71039"/>
                    <a:pt x="46656" y="71039"/>
                  </a:cubicBezTo>
                  <a:cubicBezTo>
                    <a:pt x="38173" y="71646"/>
                    <a:pt x="31508" y="73467"/>
                    <a:pt x="27266" y="76503"/>
                  </a:cubicBezTo>
                  <a:cubicBezTo>
                    <a:pt x="23025" y="80146"/>
                    <a:pt x="20601" y="85004"/>
                    <a:pt x="20601" y="91075"/>
                  </a:cubicBezTo>
                  <a:cubicBezTo>
                    <a:pt x="20601" y="97147"/>
                    <a:pt x="22419" y="101397"/>
                    <a:pt x="26660" y="105040"/>
                  </a:cubicBezTo>
                  <a:cubicBezTo>
                    <a:pt x="30902" y="108683"/>
                    <a:pt x="36355" y="110505"/>
                    <a:pt x="43626" y="110505"/>
                  </a:cubicBezTo>
                  <a:cubicBezTo>
                    <a:pt x="53927" y="110505"/>
                    <a:pt x="62409" y="108076"/>
                    <a:pt x="69680" y="102611"/>
                  </a:cubicBezTo>
                  <a:cubicBezTo>
                    <a:pt x="76951" y="97754"/>
                    <a:pt x="80587" y="91075"/>
                    <a:pt x="80587" y="82575"/>
                  </a:cubicBezTo>
                  <a:lnTo>
                    <a:pt x="80587" y="71039"/>
                  </a:lnTo>
                  <a:close/>
                  <a:moveTo>
                    <a:pt x="81799" y="125684"/>
                  </a:moveTo>
                  <a:lnTo>
                    <a:pt x="81799" y="111112"/>
                  </a:lnTo>
                  <a:cubicBezTo>
                    <a:pt x="78163" y="115969"/>
                    <a:pt x="72710" y="120219"/>
                    <a:pt x="66045" y="123255"/>
                  </a:cubicBezTo>
                  <a:cubicBezTo>
                    <a:pt x="59380" y="126291"/>
                    <a:pt x="52109" y="128113"/>
                    <a:pt x="43020" y="128113"/>
                  </a:cubicBezTo>
                  <a:cubicBezTo>
                    <a:pt x="29690" y="128113"/>
                    <a:pt x="19389" y="125077"/>
                    <a:pt x="11512" y="118398"/>
                  </a:cubicBezTo>
                  <a:cubicBezTo>
                    <a:pt x="3635" y="111719"/>
                    <a:pt x="0" y="102611"/>
                    <a:pt x="0" y="91682"/>
                  </a:cubicBezTo>
                  <a:cubicBezTo>
                    <a:pt x="0" y="78932"/>
                    <a:pt x="4241" y="69824"/>
                    <a:pt x="12724" y="63753"/>
                  </a:cubicBezTo>
                  <a:cubicBezTo>
                    <a:pt x="21207" y="58288"/>
                    <a:pt x="32114" y="54645"/>
                    <a:pt x="46656" y="54645"/>
                  </a:cubicBezTo>
                  <a:cubicBezTo>
                    <a:pt x="52715" y="54645"/>
                    <a:pt x="58774" y="54645"/>
                    <a:pt x="64227" y="54645"/>
                  </a:cubicBezTo>
                  <a:cubicBezTo>
                    <a:pt x="69680" y="54645"/>
                    <a:pt x="75134" y="54645"/>
                    <a:pt x="80587" y="55252"/>
                  </a:cubicBezTo>
                  <a:lnTo>
                    <a:pt x="80587" y="44323"/>
                  </a:lnTo>
                  <a:cubicBezTo>
                    <a:pt x="80587" y="35216"/>
                    <a:pt x="78163" y="28537"/>
                    <a:pt x="72710" y="24894"/>
                  </a:cubicBezTo>
                  <a:cubicBezTo>
                    <a:pt x="67863" y="20644"/>
                    <a:pt x="61197" y="18822"/>
                    <a:pt x="53321" y="18822"/>
                  </a:cubicBezTo>
                  <a:cubicBezTo>
                    <a:pt x="44838" y="18822"/>
                    <a:pt x="38173" y="21251"/>
                    <a:pt x="33325" y="25501"/>
                  </a:cubicBezTo>
                  <a:cubicBezTo>
                    <a:pt x="29084" y="29751"/>
                    <a:pt x="25448" y="35216"/>
                    <a:pt x="23631" y="41287"/>
                  </a:cubicBezTo>
                  <a:lnTo>
                    <a:pt x="4241" y="37037"/>
                  </a:lnTo>
                  <a:cubicBezTo>
                    <a:pt x="6665" y="26108"/>
                    <a:pt x="12118" y="17608"/>
                    <a:pt x="20601" y="10322"/>
                  </a:cubicBezTo>
                  <a:cubicBezTo>
                    <a:pt x="29084" y="3643"/>
                    <a:pt x="39990" y="0"/>
                    <a:pt x="53321" y="0"/>
                  </a:cubicBezTo>
                  <a:cubicBezTo>
                    <a:pt x="67257" y="0"/>
                    <a:pt x="78769" y="3643"/>
                    <a:pt x="87252" y="10322"/>
                  </a:cubicBezTo>
                  <a:cubicBezTo>
                    <a:pt x="96341" y="17608"/>
                    <a:pt x="100582" y="28537"/>
                    <a:pt x="100582" y="43109"/>
                  </a:cubicBezTo>
                  <a:lnTo>
                    <a:pt x="100582" y="125684"/>
                  </a:lnTo>
                  <a:lnTo>
                    <a:pt x="81799" y="125684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60D3034A-AB0E-A740-8B75-39B7FEDB4FB3}"/>
                </a:ext>
              </a:extLst>
            </p:cNvPr>
            <p:cNvSpPr/>
            <p:nvPr/>
          </p:nvSpPr>
          <p:spPr>
            <a:xfrm>
              <a:off x="1373569" y="5739365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9AF1852C-0969-F44F-9BE4-53C016FAD576}"/>
                </a:ext>
              </a:extLst>
            </p:cNvPr>
            <p:cNvSpPr/>
            <p:nvPr/>
          </p:nvSpPr>
          <p:spPr>
            <a:xfrm>
              <a:off x="1517777" y="5739365"/>
              <a:ext cx="106035" cy="123255"/>
            </a:xfrm>
            <a:custGeom>
              <a:avLst/>
              <a:gdLst>
                <a:gd name="connsiteX0" fmla="*/ 0 w 106035"/>
                <a:gd name="connsiteY0" fmla="*/ 123255 h 123255"/>
                <a:gd name="connsiteX1" fmla="*/ 0 w 106035"/>
                <a:gd name="connsiteY1" fmla="*/ 0 h 123255"/>
                <a:gd name="connsiteX2" fmla="*/ 20601 w 106035"/>
                <a:gd name="connsiteY2" fmla="*/ 0 h 123255"/>
                <a:gd name="connsiteX3" fmla="*/ 20601 w 106035"/>
                <a:gd name="connsiteY3" fmla="*/ 50395 h 123255"/>
                <a:gd name="connsiteX4" fmla="*/ 85434 w 106035"/>
                <a:gd name="connsiteY4" fmla="*/ 50395 h 123255"/>
                <a:gd name="connsiteX5" fmla="*/ 85434 w 106035"/>
                <a:gd name="connsiteY5" fmla="*/ 0 h 123255"/>
                <a:gd name="connsiteX6" fmla="*/ 106035 w 106035"/>
                <a:gd name="connsiteY6" fmla="*/ 0 h 123255"/>
                <a:gd name="connsiteX7" fmla="*/ 106035 w 106035"/>
                <a:gd name="connsiteY7" fmla="*/ 123255 h 123255"/>
                <a:gd name="connsiteX8" fmla="*/ 85434 w 106035"/>
                <a:gd name="connsiteY8" fmla="*/ 123255 h 123255"/>
                <a:gd name="connsiteX9" fmla="*/ 85434 w 106035"/>
                <a:gd name="connsiteY9" fmla="*/ 69824 h 123255"/>
                <a:gd name="connsiteX10" fmla="*/ 20601 w 106035"/>
                <a:gd name="connsiteY10" fmla="*/ 69824 h 123255"/>
                <a:gd name="connsiteX11" fmla="*/ 20601 w 106035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6035" h="123255"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6035" y="0"/>
                  </a:lnTo>
                  <a:lnTo>
                    <a:pt x="106035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20601" y="69824"/>
                  </a:lnTo>
                  <a:lnTo>
                    <a:pt x="20601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45D4FCA0-14DC-494B-BCD3-DA0F923920D4}"/>
                </a:ext>
              </a:extLst>
            </p:cNvPr>
            <p:cNvSpPr/>
            <p:nvPr/>
          </p:nvSpPr>
          <p:spPr>
            <a:xfrm>
              <a:off x="1661985" y="5739365"/>
              <a:ext cx="133907" cy="123255"/>
            </a:xfrm>
            <a:custGeom>
              <a:avLst/>
              <a:gdLst>
                <a:gd name="connsiteX0" fmla="*/ 113306 w 133907"/>
                <a:gd name="connsiteY0" fmla="*/ 0 h 123255"/>
                <a:gd name="connsiteX1" fmla="*/ 133908 w 133907"/>
                <a:gd name="connsiteY1" fmla="*/ 0 h 123255"/>
                <a:gd name="connsiteX2" fmla="*/ 133908 w 133907"/>
                <a:gd name="connsiteY2" fmla="*/ 123255 h 123255"/>
                <a:gd name="connsiteX3" fmla="*/ 113306 w 133907"/>
                <a:gd name="connsiteY3" fmla="*/ 123255 h 123255"/>
                <a:gd name="connsiteX4" fmla="*/ 113306 w 133907"/>
                <a:gd name="connsiteY4" fmla="*/ 0 h 123255"/>
                <a:gd name="connsiteX5" fmla="*/ 52109 w 133907"/>
                <a:gd name="connsiteY5" fmla="*/ 61324 h 123255"/>
                <a:gd name="connsiteX6" fmla="*/ 20601 w 133907"/>
                <a:gd name="connsiteY6" fmla="*/ 61324 h 123255"/>
                <a:gd name="connsiteX7" fmla="*/ 20601 w 133907"/>
                <a:gd name="connsiteY7" fmla="*/ 105040 h 123255"/>
                <a:gd name="connsiteX8" fmla="*/ 52109 w 133907"/>
                <a:gd name="connsiteY8" fmla="*/ 105040 h 123255"/>
                <a:gd name="connsiteX9" fmla="*/ 70892 w 133907"/>
                <a:gd name="connsiteY9" fmla="*/ 98969 h 123255"/>
                <a:gd name="connsiteX10" fmla="*/ 75740 w 133907"/>
                <a:gd name="connsiteY10" fmla="*/ 82575 h 123255"/>
                <a:gd name="connsiteX11" fmla="*/ 70892 w 133907"/>
                <a:gd name="connsiteY11" fmla="*/ 66789 h 123255"/>
                <a:gd name="connsiteX12" fmla="*/ 52109 w 133907"/>
                <a:gd name="connsiteY12" fmla="*/ 61324 h 123255"/>
                <a:gd name="connsiteX13" fmla="*/ 0 w 133907"/>
                <a:gd name="connsiteY13" fmla="*/ 123255 h 123255"/>
                <a:gd name="connsiteX14" fmla="*/ 0 w 133907"/>
                <a:gd name="connsiteY14" fmla="*/ 0 h 123255"/>
                <a:gd name="connsiteX15" fmla="*/ 20601 w 133907"/>
                <a:gd name="connsiteY15" fmla="*/ 0 h 123255"/>
                <a:gd name="connsiteX16" fmla="*/ 20601 w 133907"/>
                <a:gd name="connsiteY16" fmla="*/ 42502 h 123255"/>
                <a:gd name="connsiteX17" fmla="*/ 52109 w 133907"/>
                <a:gd name="connsiteY17" fmla="*/ 42502 h 123255"/>
                <a:gd name="connsiteX18" fmla="*/ 84222 w 133907"/>
                <a:gd name="connsiteY18" fmla="*/ 52824 h 123255"/>
                <a:gd name="connsiteX19" fmla="*/ 95129 w 133907"/>
                <a:gd name="connsiteY19" fmla="*/ 81968 h 123255"/>
                <a:gd name="connsiteX20" fmla="*/ 84222 w 133907"/>
                <a:gd name="connsiteY20" fmla="*/ 112326 h 123255"/>
                <a:gd name="connsiteX21" fmla="*/ 51503 w 133907"/>
                <a:gd name="connsiteY21" fmla="*/ 123255 h 123255"/>
                <a:gd name="connsiteX22" fmla="*/ 0 w 133907"/>
                <a:gd name="connsiteY22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907" h="123255">
                  <a:moveTo>
                    <a:pt x="113306" y="0"/>
                  </a:moveTo>
                  <a:lnTo>
                    <a:pt x="133908" y="0"/>
                  </a:lnTo>
                  <a:lnTo>
                    <a:pt x="133908" y="123255"/>
                  </a:lnTo>
                  <a:lnTo>
                    <a:pt x="113306" y="123255"/>
                  </a:lnTo>
                  <a:lnTo>
                    <a:pt x="113306" y="0"/>
                  </a:lnTo>
                  <a:close/>
                  <a:moveTo>
                    <a:pt x="52109" y="61324"/>
                  </a:moveTo>
                  <a:lnTo>
                    <a:pt x="20601" y="61324"/>
                  </a:lnTo>
                  <a:lnTo>
                    <a:pt x="20601" y="105040"/>
                  </a:lnTo>
                  <a:lnTo>
                    <a:pt x="52109" y="105040"/>
                  </a:lnTo>
                  <a:cubicBezTo>
                    <a:pt x="61198" y="105040"/>
                    <a:pt x="67863" y="102612"/>
                    <a:pt x="70892" y="98969"/>
                  </a:cubicBezTo>
                  <a:cubicBezTo>
                    <a:pt x="74528" y="94718"/>
                    <a:pt x="75740" y="89254"/>
                    <a:pt x="75740" y="82575"/>
                  </a:cubicBezTo>
                  <a:cubicBezTo>
                    <a:pt x="75740" y="75896"/>
                    <a:pt x="73922" y="70432"/>
                    <a:pt x="70892" y="66789"/>
                  </a:cubicBezTo>
                  <a:cubicBezTo>
                    <a:pt x="67863" y="63146"/>
                    <a:pt x="61803" y="61324"/>
                    <a:pt x="52109" y="61324"/>
                  </a:cubicBezTo>
                  <a:moveTo>
                    <a:pt x="0" y="123255"/>
                  </a:moveTo>
                  <a:lnTo>
                    <a:pt x="0" y="0"/>
                  </a:lnTo>
                  <a:lnTo>
                    <a:pt x="20601" y="0"/>
                  </a:lnTo>
                  <a:lnTo>
                    <a:pt x="20601" y="42502"/>
                  </a:lnTo>
                  <a:lnTo>
                    <a:pt x="52109" y="42502"/>
                  </a:lnTo>
                  <a:cubicBezTo>
                    <a:pt x="66045" y="42502"/>
                    <a:pt x="76951" y="46145"/>
                    <a:pt x="84222" y="52824"/>
                  </a:cubicBezTo>
                  <a:cubicBezTo>
                    <a:pt x="91493" y="59503"/>
                    <a:pt x="95129" y="69217"/>
                    <a:pt x="95129" y="81968"/>
                  </a:cubicBezTo>
                  <a:cubicBezTo>
                    <a:pt x="95129" y="94718"/>
                    <a:pt x="91493" y="105040"/>
                    <a:pt x="84222" y="112326"/>
                  </a:cubicBezTo>
                  <a:cubicBezTo>
                    <a:pt x="76951" y="119612"/>
                    <a:pt x="66045" y="123255"/>
                    <a:pt x="51503" y="123255"/>
                  </a:cubicBezTo>
                  <a:lnTo>
                    <a:pt x="0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A2FFC28F-85FD-BE41-8204-70A20F75E032}"/>
                </a:ext>
              </a:extLst>
            </p:cNvPr>
            <p:cNvSpPr/>
            <p:nvPr/>
          </p:nvSpPr>
          <p:spPr>
            <a:xfrm>
              <a:off x="1818917" y="5739365"/>
              <a:ext cx="116941" cy="123255"/>
            </a:xfrm>
            <a:custGeom>
              <a:avLst/>
              <a:gdLst>
                <a:gd name="connsiteX0" fmla="*/ 92099 w 116941"/>
                <a:gd name="connsiteY0" fmla="*/ 123255 h 123255"/>
                <a:gd name="connsiteX1" fmla="*/ 57562 w 116941"/>
                <a:gd name="connsiteY1" fmla="*/ 74075 h 123255"/>
                <a:gd name="connsiteX2" fmla="*/ 24237 w 116941"/>
                <a:gd name="connsiteY2" fmla="*/ 123255 h 123255"/>
                <a:gd name="connsiteX3" fmla="*/ 0 w 116941"/>
                <a:gd name="connsiteY3" fmla="*/ 123255 h 123255"/>
                <a:gd name="connsiteX4" fmla="*/ 45444 w 116941"/>
                <a:gd name="connsiteY4" fmla="*/ 60110 h 123255"/>
                <a:gd name="connsiteX5" fmla="*/ 3030 w 116941"/>
                <a:gd name="connsiteY5" fmla="*/ 0 h 123255"/>
                <a:gd name="connsiteX6" fmla="*/ 26660 w 116941"/>
                <a:gd name="connsiteY6" fmla="*/ 0 h 123255"/>
                <a:gd name="connsiteX7" fmla="*/ 57562 w 116941"/>
                <a:gd name="connsiteY7" fmla="*/ 45538 h 123255"/>
                <a:gd name="connsiteX8" fmla="*/ 89070 w 116941"/>
                <a:gd name="connsiteY8" fmla="*/ 0 h 123255"/>
                <a:gd name="connsiteX9" fmla="*/ 112700 w 116941"/>
                <a:gd name="connsiteY9" fmla="*/ 0 h 123255"/>
                <a:gd name="connsiteX10" fmla="*/ 69680 w 116941"/>
                <a:gd name="connsiteY10" fmla="*/ 58895 h 123255"/>
                <a:gd name="connsiteX11" fmla="*/ 116942 w 116941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6941" h="123255">
                  <a:moveTo>
                    <a:pt x="92099" y="123255"/>
                  </a:moveTo>
                  <a:lnTo>
                    <a:pt x="57562" y="74075"/>
                  </a:lnTo>
                  <a:lnTo>
                    <a:pt x="24237" y="123255"/>
                  </a:lnTo>
                  <a:lnTo>
                    <a:pt x="0" y="123255"/>
                  </a:lnTo>
                  <a:lnTo>
                    <a:pt x="45444" y="60110"/>
                  </a:lnTo>
                  <a:lnTo>
                    <a:pt x="3030" y="0"/>
                  </a:lnTo>
                  <a:lnTo>
                    <a:pt x="26660" y="0"/>
                  </a:lnTo>
                  <a:lnTo>
                    <a:pt x="57562" y="45538"/>
                  </a:lnTo>
                  <a:lnTo>
                    <a:pt x="89070" y="0"/>
                  </a:lnTo>
                  <a:lnTo>
                    <a:pt x="112700" y="0"/>
                  </a:lnTo>
                  <a:lnTo>
                    <a:pt x="69680" y="58895"/>
                  </a:lnTo>
                  <a:lnTo>
                    <a:pt x="116942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8" name="Graphic 11">
              <a:extLst>
                <a:ext uri="{FF2B5EF4-FFF2-40B4-BE49-F238E27FC236}">
                  <a16:creationId xmlns:a16="http://schemas.microsoft.com/office/drawing/2014/main" id="{2B14A07C-F107-AD4B-84D8-19021835B693}"/>
                </a:ext>
              </a:extLst>
            </p:cNvPr>
            <p:cNvGrpSpPr/>
            <p:nvPr/>
          </p:nvGrpSpPr>
          <p:grpSpPr>
            <a:xfrm>
              <a:off x="368960" y="6001054"/>
              <a:ext cx="249637" cy="176686"/>
              <a:chOff x="368960" y="6001054"/>
              <a:chExt cx="249637" cy="176686"/>
            </a:xfrm>
            <a:solidFill>
              <a:srgbClr val="CFD4D9"/>
            </a:solidFill>
          </p:grpSpPr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F3BC9B31-FED1-1348-9FC7-4B7596D6EE7B}"/>
                  </a:ext>
                </a:extLst>
              </p:cNvPr>
              <p:cNvSpPr/>
              <p:nvPr/>
            </p:nvSpPr>
            <p:spPr>
              <a:xfrm>
                <a:off x="368960" y="6001054"/>
                <a:ext cx="116335" cy="176686"/>
              </a:xfrm>
              <a:custGeom>
                <a:avLst/>
                <a:gdLst>
                  <a:gd name="connsiteX0" fmla="*/ 19995 w 116335"/>
                  <a:gd name="connsiteY0" fmla="*/ 74682 h 176686"/>
                  <a:gd name="connsiteX1" fmla="*/ 31508 w 116335"/>
                  <a:gd name="connsiteY1" fmla="*/ 100790 h 176686"/>
                  <a:gd name="connsiteX2" fmla="*/ 58774 w 116335"/>
                  <a:gd name="connsiteY2" fmla="*/ 110505 h 176686"/>
                  <a:gd name="connsiteX3" fmla="*/ 85434 w 116335"/>
                  <a:gd name="connsiteY3" fmla="*/ 97754 h 176686"/>
                  <a:gd name="connsiteX4" fmla="*/ 95129 w 116335"/>
                  <a:gd name="connsiteY4" fmla="*/ 63753 h 176686"/>
                  <a:gd name="connsiteX5" fmla="*/ 85434 w 116335"/>
                  <a:gd name="connsiteY5" fmla="*/ 30966 h 176686"/>
                  <a:gd name="connsiteX6" fmla="*/ 58168 w 116335"/>
                  <a:gd name="connsiteY6" fmla="*/ 18215 h 176686"/>
                  <a:gd name="connsiteX7" fmla="*/ 44232 w 116335"/>
                  <a:gd name="connsiteY7" fmla="*/ 20644 h 176686"/>
                  <a:gd name="connsiteX8" fmla="*/ 32114 w 116335"/>
                  <a:gd name="connsiteY8" fmla="*/ 28537 h 176686"/>
                  <a:gd name="connsiteX9" fmla="*/ 23631 w 116335"/>
                  <a:gd name="connsiteY9" fmla="*/ 41287 h 176686"/>
                  <a:gd name="connsiteX10" fmla="*/ 20601 w 116335"/>
                  <a:gd name="connsiteY10" fmla="*/ 58895 h 176686"/>
                  <a:gd name="connsiteX11" fmla="*/ 20601 w 116335"/>
                  <a:gd name="connsiteY11" fmla="*/ 74682 h 176686"/>
                  <a:gd name="connsiteX12" fmla="*/ 0 w 116335"/>
                  <a:gd name="connsiteY12" fmla="*/ 176686 h 176686"/>
                  <a:gd name="connsiteX13" fmla="*/ 0 w 116335"/>
                  <a:gd name="connsiteY13" fmla="*/ 3036 h 176686"/>
                  <a:gd name="connsiteX14" fmla="*/ 20601 w 116335"/>
                  <a:gd name="connsiteY14" fmla="*/ 3036 h 176686"/>
                  <a:gd name="connsiteX15" fmla="*/ 20601 w 116335"/>
                  <a:gd name="connsiteY15" fmla="*/ 19429 h 176686"/>
                  <a:gd name="connsiteX16" fmla="*/ 38779 w 116335"/>
                  <a:gd name="connsiteY16" fmla="*/ 4857 h 176686"/>
                  <a:gd name="connsiteX17" fmla="*/ 62409 w 116335"/>
                  <a:gd name="connsiteY17" fmla="*/ 0 h 176686"/>
                  <a:gd name="connsiteX18" fmla="*/ 83616 w 116335"/>
                  <a:gd name="connsiteY18" fmla="*/ 4250 h 176686"/>
                  <a:gd name="connsiteX19" fmla="*/ 100582 w 116335"/>
                  <a:gd name="connsiteY19" fmla="*/ 16394 h 176686"/>
                  <a:gd name="connsiteX20" fmla="*/ 112094 w 116335"/>
                  <a:gd name="connsiteY20" fmla="*/ 36430 h 176686"/>
                  <a:gd name="connsiteX21" fmla="*/ 116336 w 116335"/>
                  <a:gd name="connsiteY21" fmla="*/ 63753 h 176686"/>
                  <a:gd name="connsiteX22" fmla="*/ 100582 w 116335"/>
                  <a:gd name="connsiteY22" fmla="*/ 111719 h 176686"/>
                  <a:gd name="connsiteX23" fmla="*/ 58774 w 116335"/>
                  <a:gd name="connsiteY23" fmla="*/ 129327 h 176686"/>
                  <a:gd name="connsiteX24" fmla="*/ 36961 w 116335"/>
                  <a:gd name="connsiteY24" fmla="*/ 125077 h 176686"/>
                  <a:gd name="connsiteX25" fmla="*/ 20601 w 116335"/>
                  <a:gd name="connsiteY25" fmla="*/ 112933 h 176686"/>
                  <a:gd name="connsiteX26" fmla="*/ 20601 w 116335"/>
                  <a:gd name="connsiteY26" fmla="*/ 176686 h 176686"/>
                  <a:gd name="connsiteX27" fmla="*/ 0 w 116335"/>
                  <a:gd name="connsiteY27" fmla="*/ 176686 h 1766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16335" h="176686">
                    <a:moveTo>
                      <a:pt x="19995" y="74682"/>
                    </a:moveTo>
                    <a:cubicBezTo>
                      <a:pt x="19995" y="86218"/>
                      <a:pt x="23631" y="94718"/>
                      <a:pt x="31508" y="100790"/>
                    </a:cubicBezTo>
                    <a:cubicBezTo>
                      <a:pt x="39385" y="106862"/>
                      <a:pt x="48473" y="110505"/>
                      <a:pt x="58774" y="110505"/>
                    </a:cubicBezTo>
                    <a:cubicBezTo>
                      <a:pt x="70286" y="110505"/>
                      <a:pt x="78769" y="106255"/>
                      <a:pt x="85434" y="97754"/>
                    </a:cubicBezTo>
                    <a:cubicBezTo>
                      <a:pt x="92099" y="89254"/>
                      <a:pt x="95129" y="78325"/>
                      <a:pt x="95129" y="63753"/>
                    </a:cubicBezTo>
                    <a:cubicBezTo>
                      <a:pt x="95129" y="50395"/>
                      <a:pt x="92099" y="39466"/>
                      <a:pt x="85434" y="30966"/>
                    </a:cubicBezTo>
                    <a:cubicBezTo>
                      <a:pt x="78769" y="22465"/>
                      <a:pt x="69680" y="18215"/>
                      <a:pt x="58168" y="18215"/>
                    </a:cubicBezTo>
                    <a:cubicBezTo>
                      <a:pt x="53321" y="18215"/>
                      <a:pt x="48473" y="18822"/>
                      <a:pt x="44232" y="20644"/>
                    </a:cubicBezTo>
                    <a:cubicBezTo>
                      <a:pt x="39990" y="22465"/>
                      <a:pt x="35749" y="24894"/>
                      <a:pt x="32114" y="28537"/>
                    </a:cubicBezTo>
                    <a:cubicBezTo>
                      <a:pt x="28478" y="32180"/>
                      <a:pt x="25448" y="36430"/>
                      <a:pt x="23631" y="41287"/>
                    </a:cubicBezTo>
                    <a:cubicBezTo>
                      <a:pt x="21207" y="46752"/>
                      <a:pt x="20601" y="52216"/>
                      <a:pt x="20601" y="58895"/>
                    </a:cubicBezTo>
                    <a:lnTo>
                      <a:pt x="20601" y="74682"/>
                    </a:lnTo>
                    <a:close/>
                    <a:moveTo>
                      <a:pt x="0" y="176686"/>
                    </a:moveTo>
                    <a:lnTo>
                      <a:pt x="0" y="3036"/>
                    </a:lnTo>
                    <a:lnTo>
                      <a:pt x="20601" y="3036"/>
                    </a:lnTo>
                    <a:lnTo>
                      <a:pt x="20601" y="19429"/>
                    </a:lnTo>
                    <a:cubicBezTo>
                      <a:pt x="24843" y="12750"/>
                      <a:pt x="30902" y="8500"/>
                      <a:pt x="38779" y="4857"/>
                    </a:cubicBezTo>
                    <a:cubicBezTo>
                      <a:pt x="46050" y="1822"/>
                      <a:pt x="53927" y="0"/>
                      <a:pt x="62409" y="0"/>
                    </a:cubicBezTo>
                    <a:cubicBezTo>
                      <a:pt x="69680" y="0"/>
                      <a:pt x="76951" y="1214"/>
                      <a:pt x="83616" y="4250"/>
                    </a:cubicBezTo>
                    <a:cubicBezTo>
                      <a:pt x="90282" y="6679"/>
                      <a:pt x="95735" y="10929"/>
                      <a:pt x="100582" y="16394"/>
                    </a:cubicBezTo>
                    <a:cubicBezTo>
                      <a:pt x="105429" y="21858"/>
                      <a:pt x="109671" y="28537"/>
                      <a:pt x="112094" y="36430"/>
                    </a:cubicBezTo>
                    <a:cubicBezTo>
                      <a:pt x="115124" y="44323"/>
                      <a:pt x="116336" y="53431"/>
                      <a:pt x="116336" y="63753"/>
                    </a:cubicBezTo>
                    <a:cubicBezTo>
                      <a:pt x="116336" y="84396"/>
                      <a:pt x="110883" y="100183"/>
                      <a:pt x="100582" y="111719"/>
                    </a:cubicBezTo>
                    <a:cubicBezTo>
                      <a:pt x="90282" y="123255"/>
                      <a:pt x="76345" y="129327"/>
                      <a:pt x="58774" y="129327"/>
                    </a:cubicBezTo>
                    <a:cubicBezTo>
                      <a:pt x="50897" y="129327"/>
                      <a:pt x="43626" y="128113"/>
                      <a:pt x="36961" y="125077"/>
                    </a:cubicBezTo>
                    <a:cubicBezTo>
                      <a:pt x="30296" y="122041"/>
                      <a:pt x="24843" y="118398"/>
                      <a:pt x="20601" y="112933"/>
                    </a:cubicBezTo>
                    <a:lnTo>
                      <a:pt x="20601" y="176686"/>
                    </a:lnTo>
                    <a:lnTo>
                      <a:pt x="0" y="17668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4E2BC8D1-0D0C-9D43-867A-437A37E4CDDF}"/>
                  </a:ext>
                </a:extLst>
              </p:cNvPr>
              <p:cNvSpPr/>
              <p:nvPr/>
            </p:nvSpPr>
            <p:spPr>
              <a:xfrm>
                <a:off x="508321" y="6002269"/>
                <a:ext cx="110276" cy="128112"/>
              </a:xfrm>
              <a:custGeom>
                <a:avLst/>
                <a:gdLst>
                  <a:gd name="connsiteX0" fmla="*/ 56956 w 110276"/>
                  <a:gd name="connsiteY0" fmla="*/ 17001 h 128112"/>
                  <a:gd name="connsiteX1" fmla="*/ 33325 w 110276"/>
                  <a:gd name="connsiteY1" fmla="*/ 26108 h 128112"/>
                  <a:gd name="connsiteX2" fmla="*/ 21207 w 110276"/>
                  <a:gd name="connsiteY2" fmla="*/ 49788 h 128112"/>
                  <a:gd name="connsiteX3" fmla="*/ 90282 w 110276"/>
                  <a:gd name="connsiteY3" fmla="*/ 49788 h 128112"/>
                  <a:gd name="connsiteX4" fmla="*/ 81799 w 110276"/>
                  <a:gd name="connsiteY4" fmla="*/ 26108 h 128112"/>
                  <a:gd name="connsiteX5" fmla="*/ 56956 w 110276"/>
                  <a:gd name="connsiteY5" fmla="*/ 17001 h 128112"/>
                  <a:gd name="connsiteX6" fmla="*/ 110277 w 110276"/>
                  <a:gd name="connsiteY6" fmla="*/ 67396 h 128112"/>
                  <a:gd name="connsiteX7" fmla="*/ 20601 w 110276"/>
                  <a:gd name="connsiteY7" fmla="*/ 67396 h 128112"/>
                  <a:gd name="connsiteX8" fmla="*/ 32114 w 110276"/>
                  <a:gd name="connsiteY8" fmla="*/ 98969 h 128112"/>
                  <a:gd name="connsiteX9" fmla="*/ 58168 w 110276"/>
                  <a:gd name="connsiteY9" fmla="*/ 109898 h 128112"/>
                  <a:gd name="connsiteX10" fmla="*/ 80587 w 110276"/>
                  <a:gd name="connsiteY10" fmla="*/ 103219 h 128112"/>
                  <a:gd name="connsiteX11" fmla="*/ 90887 w 110276"/>
                  <a:gd name="connsiteY11" fmla="*/ 87432 h 128112"/>
                  <a:gd name="connsiteX12" fmla="*/ 110277 w 110276"/>
                  <a:gd name="connsiteY12" fmla="*/ 91075 h 128112"/>
                  <a:gd name="connsiteX13" fmla="*/ 92099 w 110276"/>
                  <a:gd name="connsiteY13" fmla="*/ 118398 h 128112"/>
                  <a:gd name="connsiteX14" fmla="*/ 57562 w 110276"/>
                  <a:gd name="connsiteY14" fmla="*/ 128113 h 128112"/>
                  <a:gd name="connsiteX15" fmla="*/ 15754 w 110276"/>
                  <a:gd name="connsiteY15" fmla="*/ 111112 h 128112"/>
                  <a:gd name="connsiteX16" fmla="*/ 0 w 110276"/>
                  <a:gd name="connsiteY16" fmla="*/ 63753 h 128112"/>
                  <a:gd name="connsiteX17" fmla="*/ 4241 w 110276"/>
                  <a:gd name="connsiteY17" fmla="*/ 36430 h 128112"/>
                  <a:gd name="connsiteX18" fmla="*/ 16360 w 110276"/>
                  <a:gd name="connsiteY18" fmla="*/ 16394 h 128112"/>
                  <a:gd name="connsiteX19" fmla="*/ 34537 w 110276"/>
                  <a:gd name="connsiteY19" fmla="*/ 4250 h 128112"/>
                  <a:gd name="connsiteX20" fmla="*/ 56956 w 110276"/>
                  <a:gd name="connsiteY20" fmla="*/ 0 h 128112"/>
                  <a:gd name="connsiteX21" fmla="*/ 95735 w 110276"/>
                  <a:gd name="connsiteY21" fmla="*/ 15786 h 128112"/>
                  <a:gd name="connsiteX22" fmla="*/ 110277 w 110276"/>
                  <a:gd name="connsiteY22" fmla="*/ 59503 h 128112"/>
                  <a:gd name="connsiteX23" fmla="*/ 110277 w 110276"/>
                  <a:gd name="connsiteY23" fmla="*/ 67396 h 1281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10276" h="128112">
                    <a:moveTo>
                      <a:pt x="56956" y="17001"/>
                    </a:moveTo>
                    <a:cubicBezTo>
                      <a:pt x="47261" y="17001"/>
                      <a:pt x="39385" y="20037"/>
                      <a:pt x="33325" y="26108"/>
                    </a:cubicBezTo>
                    <a:cubicBezTo>
                      <a:pt x="26660" y="32180"/>
                      <a:pt x="23025" y="40073"/>
                      <a:pt x="21207" y="49788"/>
                    </a:cubicBezTo>
                    <a:lnTo>
                      <a:pt x="90282" y="49788"/>
                    </a:lnTo>
                    <a:cubicBezTo>
                      <a:pt x="89676" y="40073"/>
                      <a:pt x="86646" y="32180"/>
                      <a:pt x="81799" y="26108"/>
                    </a:cubicBezTo>
                    <a:cubicBezTo>
                      <a:pt x="75740" y="20037"/>
                      <a:pt x="67863" y="17001"/>
                      <a:pt x="56956" y="17001"/>
                    </a:cubicBezTo>
                    <a:moveTo>
                      <a:pt x="110277" y="67396"/>
                    </a:moveTo>
                    <a:lnTo>
                      <a:pt x="20601" y="67396"/>
                    </a:lnTo>
                    <a:cubicBezTo>
                      <a:pt x="21207" y="81361"/>
                      <a:pt x="24843" y="91683"/>
                      <a:pt x="32114" y="98969"/>
                    </a:cubicBezTo>
                    <a:cubicBezTo>
                      <a:pt x="38779" y="106255"/>
                      <a:pt x="47867" y="109898"/>
                      <a:pt x="58168" y="109898"/>
                    </a:cubicBezTo>
                    <a:cubicBezTo>
                      <a:pt x="67863" y="109898"/>
                      <a:pt x="75134" y="107469"/>
                      <a:pt x="80587" y="103219"/>
                    </a:cubicBezTo>
                    <a:cubicBezTo>
                      <a:pt x="86040" y="98969"/>
                      <a:pt x="89070" y="93504"/>
                      <a:pt x="90887" y="87432"/>
                    </a:cubicBezTo>
                    <a:lnTo>
                      <a:pt x="110277" y="91075"/>
                    </a:lnTo>
                    <a:cubicBezTo>
                      <a:pt x="107247" y="102611"/>
                      <a:pt x="101188" y="111719"/>
                      <a:pt x="92099" y="118398"/>
                    </a:cubicBezTo>
                    <a:cubicBezTo>
                      <a:pt x="83011" y="125077"/>
                      <a:pt x="71498" y="128113"/>
                      <a:pt x="57562" y="128113"/>
                    </a:cubicBezTo>
                    <a:cubicBezTo>
                      <a:pt x="39990" y="128113"/>
                      <a:pt x="26054" y="122648"/>
                      <a:pt x="15754" y="111112"/>
                    </a:cubicBezTo>
                    <a:cubicBezTo>
                      <a:pt x="5453" y="99576"/>
                      <a:pt x="0" y="83789"/>
                      <a:pt x="0" y="63753"/>
                    </a:cubicBezTo>
                    <a:cubicBezTo>
                      <a:pt x="0" y="53431"/>
                      <a:pt x="1212" y="44323"/>
                      <a:pt x="4241" y="36430"/>
                    </a:cubicBezTo>
                    <a:cubicBezTo>
                      <a:pt x="7271" y="28537"/>
                      <a:pt x="11512" y="21858"/>
                      <a:pt x="16360" y="16394"/>
                    </a:cubicBezTo>
                    <a:cubicBezTo>
                      <a:pt x="21207" y="10929"/>
                      <a:pt x="27872" y="6679"/>
                      <a:pt x="34537" y="4250"/>
                    </a:cubicBezTo>
                    <a:cubicBezTo>
                      <a:pt x="41808" y="1214"/>
                      <a:pt x="49079" y="0"/>
                      <a:pt x="56956" y="0"/>
                    </a:cubicBezTo>
                    <a:cubicBezTo>
                      <a:pt x="73316" y="0"/>
                      <a:pt x="86040" y="5464"/>
                      <a:pt x="95735" y="15786"/>
                    </a:cubicBezTo>
                    <a:cubicBezTo>
                      <a:pt x="105429" y="26108"/>
                      <a:pt x="110277" y="40680"/>
                      <a:pt x="110277" y="59503"/>
                    </a:cubicBezTo>
                    <a:lnTo>
                      <a:pt x="110277" y="67396"/>
                    </a:lnTo>
                    <a:close/>
                  </a:path>
                </a:pathLst>
              </a:custGeom>
              <a:solidFill>
                <a:srgbClr val="7F8183"/>
              </a:solidFill>
              <a:ln w="6029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D538EF1-09C4-5448-A023-ECE6ED903AEA}"/>
                </a:ext>
              </a:extLst>
            </p:cNvPr>
            <p:cNvSpPr/>
            <p:nvPr/>
          </p:nvSpPr>
          <p:spPr>
            <a:xfrm>
              <a:off x="648893" y="6004090"/>
              <a:ext cx="161779" cy="123255"/>
            </a:xfrm>
            <a:custGeom>
              <a:avLst/>
              <a:gdLst>
                <a:gd name="connsiteX0" fmla="*/ 161780 w 161779"/>
                <a:gd name="connsiteY0" fmla="*/ 0 h 123255"/>
                <a:gd name="connsiteX1" fmla="*/ 161780 w 161779"/>
                <a:gd name="connsiteY1" fmla="*/ 123255 h 123255"/>
                <a:gd name="connsiteX2" fmla="*/ 0 w 161779"/>
                <a:gd name="connsiteY2" fmla="*/ 123255 h 123255"/>
                <a:gd name="connsiteX3" fmla="*/ 0 w 161779"/>
                <a:gd name="connsiteY3" fmla="*/ 0 h 123255"/>
                <a:gd name="connsiteX4" fmla="*/ 19995 w 161779"/>
                <a:gd name="connsiteY4" fmla="*/ 0 h 123255"/>
                <a:gd name="connsiteX5" fmla="*/ 19995 w 161779"/>
                <a:gd name="connsiteY5" fmla="*/ 104433 h 123255"/>
                <a:gd name="connsiteX6" fmla="*/ 70286 w 161779"/>
                <a:gd name="connsiteY6" fmla="*/ 104433 h 123255"/>
                <a:gd name="connsiteX7" fmla="*/ 70286 w 161779"/>
                <a:gd name="connsiteY7" fmla="*/ 0 h 123255"/>
                <a:gd name="connsiteX8" fmla="*/ 90887 w 161779"/>
                <a:gd name="connsiteY8" fmla="*/ 0 h 123255"/>
                <a:gd name="connsiteX9" fmla="*/ 90887 w 161779"/>
                <a:gd name="connsiteY9" fmla="*/ 104433 h 123255"/>
                <a:gd name="connsiteX10" fmla="*/ 141178 w 161779"/>
                <a:gd name="connsiteY10" fmla="*/ 104433 h 123255"/>
                <a:gd name="connsiteX11" fmla="*/ 141178 w 161779"/>
                <a:gd name="connsiteY11" fmla="*/ 0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1779" h="123255">
                  <a:moveTo>
                    <a:pt x="161780" y="0"/>
                  </a:moveTo>
                  <a:lnTo>
                    <a:pt x="161780" y="123255"/>
                  </a:lnTo>
                  <a:lnTo>
                    <a:pt x="0" y="123255"/>
                  </a:lnTo>
                  <a:lnTo>
                    <a:pt x="0" y="0"/>
                  </a:lnTo>
                  <a:lnTo>
                    <a:pt x="19995" y="0"/>
                  </a:lnTo>
                  <a:lnTo>
                    <a:pt x="19995" y="104433"/>
                  </a:lnTo>
                  <a:lnTo>
                    <a:pt x="70286" y="104433"/>
                  </a:lnTo>
                  <a:lnTo>
                    <a:pt x="70286" y="0"/>
                  </a:lnTo>
                  <a:lnTo>
                    <a:pt x="90887" y="0"/>
                  </a:lnTo>
                  <a:lnTo>
                    <a:pt x="90887" y="104433"/>
                  </a:lnTo>
                  <a:lnTo>
                    <a:pt x="141178" y="104433"/>
                  </a:lnTo>
                  <a:lnTo>
                    <a:pt x="141178" y="0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406CBEB-901C-C047-9A70-891DF09F1017}"/>
                </a:ext>
              </a:extLst>
            </p:cNvPr>
            <p:cNvSpPr/>
            <p:nvPr/>
          </p:nvSpPr>
          <p:spPr>
            <a:xfrm>
              <a:off x="840969" y="6002269"/>
              <a:ext cx="110276" cy="128112"/>
            </a:xfrm>
            <a:custGeom>
              <a:avLst/>
              <a:gdLst>
                <a:gd name="connsiteX0" fmla="*/ 56956 w 110276"/>
                <a:gd name="connsiteY0" fmla="*/ 17001 h 128112"/>
                <a:gd name="connsiteX1" fmla="*/ 33325 w 110276"/>
                <a:gd name="connsiteY1" fmla="*/ 26108 h 128112"/>
                <a:gd name="connsiteX2" fmla="*/ 21207 w 110276"/>
                <a:gd name="connsiteY2" fmla="*/ 49788 h 128112"/>
                <a:gd name="connsiteX3" fmla="*/ 89676 w 110276"/>
                <a:gd name="connsiteY3" fmla="*/ 49788 h 128112"/>
                <a:gd name="connsiteX4" fmla="*/ 81193 w 110276"/>
                <a:gd name="connsiteY4" fmla="*/ 26108 h 128112"/>
                <a:gd name="connsiteX5" fmla="*/ 56956 w 110276"/>
                <a:gd name="connsiteY5" fmla="*/ 17001 h 128112"/>
                <a:gd name="connsiteX6" fmla="*/ 110277 w 110276"/>
                <a:gd name="connsiteY6" fmla="*/ 67396 h 128112"/>
                <a:gd name="connsiteX7" fmla="*/ 20601 w 110276"/>
                <a:gd name="connsiteY7" fmla="*/ 67396 h 128112"/>
                <a:gd name="connsiteX8" fmla="*/ 32114 w 110276"/>
                <a:gd name="connsiteY8" fmla="*/ 98969 h 128112"/>
                <a:gd name="connsiteX9" fmla="*/ 58168 w 110276"/>
                <a:gd name="connsiteY9" fmla="*/ 109898 h 128112"/>
                <a:gd name="connsiteX10" fmla="*/ 80587 w 110276"/>
                <a:gd name="connsiteY10" fmla="*/ 103219 h 128112"/>
                <a:gd name="connsiteX11" fmla="*/ 90887 w 110276"/>
                <a:gd name="connsiteY11" fmla="*/ 87432 h 128112"/>
                <a:gd name="connsiteX12" fmla="*/ 110277 w 110276"/>
                <a:gd name="connsiteY12" fmla="*/ 91075 h 128112"/>
                <a:gd name="connsiteX13" fmla="*/ 92099 w 110276"/>
                <a:gd name="connsiteY13" fmla="*/ 118398 h 128112"/>
                <a:gd name="connsiteX14" fmla="*/ 57562 w 110276"/>
                <a:gd name="connsiteY14" fmla="*/ 128113 h 128112"/>
                <a:gd name="connsiteX15" fmla="*/ 15754 w 110276"/>
                <a:gd name="connsiteY15" fmla="*/ 111112 h 128112"/>
                <a:gd name="connsiteX16" fmla="*/ 0 w 110276"/>
                <a:gd name="connsiteY16" fmla="*/ 63753 h 128112"/>
                <a:gd name="connsiteX17" fmla="*/ 4241 w 110276"/>
                <a:gd name="connsiteY17" fmla="*/ 36430 h 128112"/>
                <a:gd name="connsiteX18" fmla="*/ 16360 w 110276"/>
                <a:gd name="connsiteY18" fmla="*/ 16394 h 128112"/>
                <a:gd name="connsiteX19" fmla="*/ 34537 w 110276"/>
                <a:gd name="connsiteY19" fmla="*/ 4250 h 128112"/>
                <a:gd name="connsiteX20" fmla="*/ 56956 w 110276"/>
                <a:gd name="connsiteY20" fmla="*/ 0 h 128112"/>
                <a:gd name="connsiteX21" fmla="*/ 95735 w 110276"/>
                <a:gd name="connsiteY21" fmla="*/ 15786 h 128112"/>
                <a:gd name="connsiteX22" fmla="*/ 110277 w 110276"/>
                <a:gd name="connsiteY22" fmla="*/ 59503 h 128112"/>
                <a:gd name="connsiteX23" fmla="*/ 110277 w 110276"/>
                <a:gd name="connsiteY23" fmla="*/ 67396 h 1281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0276" h="128112">
                  <a:moveTo>
                    <a:pt x="56956" y="17001"/>
                  </a:moveTo>
                  <a:cubicBezTo>
                    <a:pt x="47261" y="17001"/>
                    <a:pt x="39385" y="20037"/>
                    <a:pt x="33325" y="26108"/>
                  </a:cubicBezTo>
                  <a:cubicBezTo>
                    <a:pt x="26660" y="32180"/>
                    <a:pt x="23025" y="40073"/>
                    <a:pt x="21207" y="49788"/>
                  </a:cubicBezTo>
                  <a:lnTo>
                    <a:pt x="89676" y="49788"/>
                  </a:lnTo>
                  <a:cubicBezTo>
                    <a:pt x="89070" y="40073"/>
                    <a:pt x="86040" y="32180"/>
                    <a:pt x="81193" y="26108"/>
                  </a:cubicBezTo>
                  <a:cubicBezTo>
                    <a:pt x="75740" y="20037"/>
                    <a:pt x="67863" y="17001"/>
                    <a:pt x="56956" y="17001"/>
                  </a:cubicBezTo>
                  <a:moveTo>
                    <a:pt x="110277" y="67396"/>
                  </a:moveTo>
                  <a:lnTo>
                    <a:pt x="20601" y="67396"/>
                  </a:lnTo>
                  <a:cubicBezTo>
                    <a:pt x="21207" y="81361"/>
                    <a:pt x="24843" y="91683"/>
                    <a:pt x="32114" y="98969"/>
                  </a:cubicBezTo>
                  <a:cubicBezTo>
                    <a:pt x="38779" y="106255"/>
                    <a:pt x="47867" y="109898"/>
                    <a:pt x="58168" y="109898"/>
                  </a:cubicBezTo>
                  <a:cubicBezTo>
                    <a:pt x="67863" y="109898"/>
                    <a:pt x="75134" y="107469"/>
                    <a:pt x="80587" y="103219"/>
                  </a:cubicBezTo>
                  <a:cubicBezTo>
                    <a:pt x="86040" y="98969"/>
                    <a:pt x="89070" y="93504"/>
                    <a:pt x="90887" y="87432"/>
                  </a:cubicBezTo>
                  <a:lnTo>
                    <a:pt x="110277" y="91075"/>
                  </a:lnTo>
                  <a:cubicBezTo>
                    <a:pt x="107247" y="102611"/>
                    <a:pt x="101188" y="111719"/>
                    <a:pt x="92099" y="118398"/>
                  </a:cubicBezTo>
                  <a:cubicBezTo>
                    <a:pt x="83011" y="125077"/>
                    <a:pt x="71498" y="128113"/>
                    <a:pt x="57562" y="128113"/>
                  </a:cubicBezTo>
                  <a:cubicBezTo>
                    <a:pt x="39991" y="128113"/>
                    <a:pt x="26054" y="122648"/>
                    <a:pt x="15754" y="111112"/>
                  </a:cubicBezTo>
                  <a:cubicBezTo>
                    <a:pt x="5453" y="99576"/>
                    <a:pt x="0" y="83789"/>
                    <a:pt x="0" y="63753"/>
                  </a:cubicBezTo>
                  <a:cubicBezTo>
                    <a:pt x="0" y="53431"/>
                    <a:pt x="1212" y="44323"/>
                    <a:pt x="4241" y="36430"/>
                  </a:cubicBezTo>
                  <a:cubicBezTo>
                    <a:pt x="7271" y="28537"/>
                    <a:pt x="11512" y="21858"/>
                    <a:pt x="16360" y="16394"/>
                  </a:cubicBezTo>
                  <a:cubicBezTo>
                    <a:pt x="21207" y="10929"/>
                    <a:pt x="27872" y="6679"/>
                    <a:pt x="34537" y="4250"/>
                  </a:cubicBezTo>
                  <a:cubicBezTo>
                    <a:pt x="41808" y="1214"/>
                    <a:pt x="49079" y="0"/>
                    <a:pt x="56956" y="0"/>
                  </a:cubicBezTo>
                  <a:cubicBezTo>
                    <a:pt x="73316" y="0"/>
                    <a:pt x="86040" y="5464"/>
                    <a:pt x="95735" y="15786"/>
                  </a:cubicBezTo>
                  <a:cubicBezTo>
                    <a:pt x="105429" y="26108"/>
                    <a:pt x="110277" y="40680"/>
                    <a:pt x="110277" y="59503"/>
                  </a:cubicBezTo>
                  <a:lnTo>
                    <a:pt x="110277" y="67396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637D608A-56A2-0F4D-B83C-5125774C3DA3}"/>
                </a:ext>
              </a:extLst>
            </p:cNvPr>
            <p:cNvSpPr/>
            <p:nvPr/>
          </p:nvSpPr>
          <p:spPr>
            <a:xfrm>
              <a:off x="981541" y="6004090"/>
              <a:ext cx="105429" cy="123255"/>
            </a:xfrm>
            <a:custGeom>
              <a:avLst/>
              <a:gdLst>
                <a:gd name="connsiteX0" fmla="*/ 0 w 105429"/>
                <a:gd name="connsiteY0" fmla="*/ 123255 h 123255"/>
                <a:gd name="connsiteX1" fmla="*/ 0 w 105429"/>
                <a:gd name="connsiteY1" fmla="*/ 0 h 123255"/>
                <a:gd name="connsiteX2" fmla="*/ 19995 w 105429"/>
                <a:gd name="connsiteY2" fmla="*/ 0 h 123255"/>
                <a:gd name="connsiteX3" fmla="*/ 19995 w 105429"/>
                <a:gd name="connsiteY3" fmla="*/ 50395 h 123255"/>
                <a:gd name="connsiteX4" fmla="*/ 85434 w 105429"/>
                <a:gd name="connsiteY4" fmla="*/ 50395 h 123255"/>
                <a:gd name="connsiteX5" fmla="*/ 85434 w 105429"/>
                <a:gd name="connsiteY5" fmla="*/ 0 h 123255"/>
                <a:gd name="connsiteX6" fmla="*/ 105429 w 105429"/>
                <a:gd name="connsiteY6" fmla="*/ 0 h 123255"/>
                <a:gd name="connsiteX7" fmla="*/ 105429 w 105429"/>
                <a:gd name="connsiteY7" fmla="*/ 123255 h 123255"/>
                <a:gd name="connsiteX8" fmla="*/ 85434 w 105429"/>
                <a:gd name="connsiteY8" fmla="*/ 123255 h 123255"/>
                <a:gd name="connsiteX9" fmla="*/ 85434 w 105429"/>
                <a:gd name="connsiteY9" fmla="*/ 69824 h 123255"/>
                <a:gd name="connsiteX10" fmla="*/ 19995 w 105429"/>
                <a:gd name="connsiteY10" fmla="*/ 69824 h 123255"/>
                <a:gd name="connsiteX11" fmla="*/ 19995 w 105429"/>
                <a:gd name="connsiteY11" fmla="*/ 123255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429" h="123255">
                  <a:moveTo>
                    <a:pt x="0" y="123255"/>
                  </a:moveTo>
                  <a:lnTo>
                    <a:pt x="0" y="0"/>
                  </a:lnTo>
                  <a:lnTo>
                    <a:pt x="19995" y="0"/>
                  </a:lnTo>
                  <a:lnTo>
                    <a:pt x="19995" y="50395"/>
                  </a:lnTo>
                  <a:lnTo>
                    <a:pt x="85434" y="50395"/>
                  </a:lnTo>
                  <a:lnTo>
                    <a:pt x="85434" y="0"/>
                  </a:lnTo>
                  <a:lnTo>
                    <a:pt x="105429" y="0"/>
                  </a:lnTo>
                  <a:lnTo>
                    <a:pt x="105429" y="123255"/>
                  </a:lnTo>
                  <a:lnTo>
                    <a:pt x="85434" y="123255"/>
                  </a:lnTo>
                  <a:lnTo>
                    <a:pt x="85434" y="69824"/>
                  </a:lnTo>
                  <a:lnTo>
                    <a:pt x="19995" y="69824"/>
                  </a:lnTo>
                  <a:lnTo>
                    <a:pt x="19995" y="123255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39E2D56B-79BF-B94A-A1AF-575B1A1C53FF}"/>
                </a:ext>
              </a:extLst>
            </p:cNvPr>
            <p:cNvSpPr/>
            <p:nvPr/>
          </p:nvSpPr>
          <p:spPr>
            <a:xfrm>
              <a:off x="1125749" y="6004090"/>
              <a:ext cx="103005" cy="123255"/>
            </a:xfrm>
            <a:custGeom>
              <a:avLst/>
              <a:gdLst>
                <a:gd name="connsiteX0" fmla="*/ 21813 w 103005"/>
                <a:gd name="connsiteY0" fmla="*/ 123255 h 123255"/>
                <a:gd name="connsiteX1" fmla="*/ 0 w 103005"/>
                <a:gd name="connsiteY1" fmla="*/ 123255 h 123255"/>
                <a:gd name="connsiteX2" fmla="*/ 0 w 103005"/>
                <a:gd name="connsiteY2" fmla="*/ 0 h 123255"/>
                <a:gd name="connsiteX3" fmla="*/ 19389 w 103005"/>
                <a:gd name="connsiteY3" fmla="*/ 0 h 123255"/>
                <a:gd name="connsiteX4" fmla="*/ 19389 w 103005"/>
                <a:gd name="connsiteY4" fmla="*/ 96540 h 123255"/>
                <a:gd name="connsiteX5" fmla="*/ 80587 w 103005"/>
                <a:gd name="connsiteY5" fmla="*/ 0 h 123255"/>
                <a:gd name="connsiteX6" fmla="*/ 103006 w 103005"/>
                <a:gd name="connsiteY6" fmla="*/ 0 h 123255"/>
                <a:gd name="connsiteX7" fmla="*/ 103006 w 103005"/>
                <a:gd name="connsiteY7" fmla="*/ 123255 h 123255"/>
                <a:gd name="connsiteX8" fmla="*/ 83616 w 103005"/>
                <a:gd name="connsiteY8" fmla="*/ 123255 h 123255"/>
                <a:gd name="connsiteX9" fmla="*/ 83616 w 103005"/>
                <a:gd name="connsiteY9" fmla="*/ 26108 h 123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3005" h="123255">
                  <a:moveTo>
                    <a:pt x="21813" y="123255"/>
                  </a:moveTo>
                  <a:lnTo>
                    <a:pt x="0" y="123255"/>
                  </a:lnTo>
                  <a:lnTo>
                    <a:pt x="0" y="0"/>
                  </a:lnTo>
                  <a:lnTo>
                    <a:pt x="19389" y="0"/>
                  </a:lnTo>
                  <a:lnTo>
                    <a:pt x="19389" y="96540"/>
                  </a:lnTo>
                  <a:lnTo>
                    <a:pt x="80587" y="0"/>
                  </a:lnTo>
                  <a:lnTo>
                    <a:pt x="103006" y="0"/>
                  </a:lnTo>
                  <a:lnTo>
                    <a:pt x="103006" y="123255"/>
                  </a:lnTo>
                  <a:lnTo>
                    <a:pt x="83616" y="123255"/>
                  </a:lnTo>
                  <a:lnTo>
                    <a:pt x="83616" y="26108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BE46DC9E-427D-EA4F-B748-F67A49365836}"/>
                </a:ext>
              </a:extLst>
            </p:cNvPr>
            <p:cNvSpPr/>
            <p:nvPr/>
          </p:nvSpPr>
          <p:spPr>
            <a:xfrm>
              <a:off x="1267534" y="5957338"/>
              <a:ext cx="103611" cy="170007"/>
            </a:xfrm>
            <a:custGeom>
              <a:avLst/>
              <a:gdLst>
                <a:gd name="connsiteX0" fmla="*/ 52109 w 103611"/>
                <a:gd name="connsiteY0" fmla="*/ 33394 h 170007"/>
                <a:gd name="connsiteX1" fmla="*/ 24237 w 103611"/>
                <a:gd name="connsiteY1" fmla="*/ 24287 h 170007"/>
                <a:gd name="connsiteX2" fmla="*/ 15148 w 103611"/>
                <a:gd name="connsiteY2" fmla="*/ 0 h 170007"/>
                <a:gd name="connsiteX3" fmla="*/ 32113 w 103611"/>
                <a:gd name="connsiteY3" fmla="*/ 0 h 170007"/>
                <a:gd name="connsiteX4" fmla="*/ 37567 w 103611"/>
                <a:gd name="connsiteY4" fmla="*/ 13358 h 170007"/>
                <a:gd name="connsiteX5" fmla="*/ 51503 w 103611"/>
                <a:gd name="connsiteY5" fmla="*/ 18215 h 170007"/>
                <a:gd name="connsiteX6" fmla="*/ 65439 w 103611"/>
                <a:gd name="connsiteY6" fmla="*/ 13358 h 170007"/>
                <a:gd name="connsiteX7" fmla="*/ 70892 w 103611"/>
                <a:gd name="connsiteY7" fmla="*/ 0 h 170007"/>
                <a:gd name="connsiteX8" fmla="*/ 87858 w 103611"/>
                <a:gd name="connsiteY8" fmla="*/ 0 h 170007"/>
                <a:gd name="connsiteX9" fmla="*/ 78769 w 103611"/>
                <a:gd name="connsiteY9" fmla="*/ 24287 h 170007"/>
                <a:gd name="connsiteX10" fmla="*/ 52109 w 103611"/>
                <a:gd name="connsiteY10" fmla="*/ 33394 h 170007"/>
                <a:gd name="connsiteX11" fmla="*/ 21813 w 103611"/>
                <a:gd name="connsiteY11" fmla="*/ 170007 h 170007"/>
                <a:gd name="connsiteX12" fmla="*/ 0 w 103611"/>
                <a:gd name="connsiteY12" fmla="*/ 170007 h 170007"/>
                <a:gd name="connsiteX13" fmla="*/ 0 w 103611"/>
                <a:gd name="connsiteY13" fmla="*/ 46752 h 170007"/>
                <a:gd name="connsiteX14" fmla="*/ 19995 w 103611"/>
                <a:gd name="connsiteY14" fmla="*/ 46752 h 170007"/>
                <a:gd name="connsiteX15" fmla="*/ 19995 w 103611"/>
                <a:gd name="connsiteY15" fmla="*/ 143292 h 170007"/>
                <a:gd name="connsiteX16" fmla="*/ 81193 w 103611"/>
                <a:gd name="connsiteY16" fmla="*/ 46752 h 170007"/>
                <a:gd name="connsiteX17" fmla="*/ 103612 w 103611"/>
                <a:gd name="connsiteY17" fmla="*/ 46752 h 170007"/>
                <a:gd name="connsiteX18" fmla="*/ 103612 w 103611"/>
                <a:gd name="connsiteY18" fmla="*/ 170007 h 170007"/>
                <a:gd name="connsiteX19" fmla="*/ 83616 w 103611"/>
                <a:gd name="connsiteY19" fmla="*/ 170007 h 170007"/>
                <a:gd name="connsiteX20" fmla="*/ 83616 w 103611"/>
                <a:gd name="connsiteY20" fmla="*/ 72860 h 170007"/>
                <a:gd name="connsiteX21" fmla="*/ 21813 w 103611"/>
                <a:gd name="connsiteY21" fmla="*/ 170007 h 17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3611" h="170007">
                  <a:moveTo>
                    <a:pt x="52109" y="33394"/>
                  </a:moveTo>
                  <a:cubicBezTo>
                    <a:pt x="39385" y="33394"/>
                    <a:pt x="30296" y="30358"/>
                    <a:pt x="24237" y="24287"/>
                  </a:cubicBezTo>
                  <a:cubicBezTo>
                    <a:pt x="18177" y="18215"/>
                    <a:pt x="15148" y="10322"/>
                    <a:pt x="15148" y="0"/>
                  </a:cubicBezTo>
                  <a:lnTo>
                    <a:pt x="32113" y="0"/>
                  </a:lnTo>
                  <a:cubicBezTo>
                    <a:pt x="32719" y="5464"/>
                    <a:pt x="34537" y="10322"/>
                    <a:pt x="37567" y="13358"/>
                  </a:cubicBezTo>
                  <a:cubicBezTo>
                    <a:pt x="40596" y="16394"/>
                    <a:pt x="45444" y="18215"/>
                    <a:pt x="51503" y="18215"/>
                  </a:cubicBezTo>
                  <a:cubicBezTo>
                    <a:pt x="57562" y="18215"/>
                    <a:pt x="62409" y="16394"/>
                    <a:pt x="65439" y="13358"/>
                  </a:cubicBezTo>
                  <a:cubicBezTo>
                    <a:pt x="68468" y="10322"/>
                    <a:pt x="70286" y="5464"/>
                    <a:pt x="70892" y="0"/>
                  </a:cubicBezTo>
                  <a:lnTo>
                    <a:pt x="87858" y="0"/>
                  </a:lnTo>
                  <a:cubicBezTo>
                    <a:pt x="87252" y="9715"/>
                    <a:pt x="84222" y="17608"/>
                    <a:pt x="78769" y="24287"/>
                  </a:cubicBezTo>
                  <a:cubicBezTo>
                    <a:pt x="73316" y="30358"/>
                    <a:pt x="64227" y="33394"/>
                    <a:pt x="52109" y="33394"/>
                  </a:cubicBezTo>
                  <a:moveTo>
                    <a:pt x="21813" y="170007"/>
                  </a:moveTo>
                  <a:lnTo>
                    <a:pt x="0" y="170007"/>
                  </a:lnTo>
                  <a:lnTo>
                    <a:pt x="0" y="46752"/>
                  </a:lnTo>
                  <a:lnTo>
                    <a:pt x="19995" y="46752"/>
                  </a:lnTo>
                  <a:lnTo>
                    <a:pt x="19995" y="143292"/>
                  </a:lnTo>
                  <a:lnTo>
                    <a:pt x="81193" y="46752"/>
                  </a:lnTo>
                  <a:lnTo>
                    <a:pt x="103612" y="46752"/>
                  </a:lnTo>
                  <a:lnTo>
                    <a:pt x="103612" y="170007"/>
                  </a:lnTo>
                  <a:lnTo>
                    <a:pt x="83616" y="170007"/>
                  </a:lnTo>
                  <a:lnTo>
                    <a:pt x="83616" y="72860"/>
                  </a:lnTo>
                  <a:lnTo>
                    <a:pt x="21813" y="170007"/>
                  </a:lnTo>
                  <a:close/>
                </a:path>
              </a:pathLst>
            </a:custGeom>
            <a:solidFill>
              <a:srgbClr val="7F8183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63F66C5F-55B0-C14D-AA50-7ACDBA64B24B}"/>
                </a:ext>
              </a:extLst>
            </p:cNvPr>
            <p:cNvSpPr/>
            <p:nvPr/>
          </p:nvSpPr>
          <p:spPr>
            <a:xfrm>
              <a:off x="356842" y="4732072"/>
              <a:ext cx="1039146" cy="549487"/>
            </a:xfrm>
            <a:custGeom>
              <a:avLst/>
              <a:gdLst>
                <a:gd name="connsiteX0" fmla="*/ 1039146 w 1039146"/>
                <a:gd name="connsiteY0" fmla="*/ 0 h 549487"/>
                <a:gd name="connsiteX1" fmla="*/ 0 w 1039146"/>
                <a:gd name="connsiteY1" fmla="*/ 456591 h 549487"/>
                <a:gd name="connsiteX2" fmla="*/ 0 w 1039146"/>
                <a:gd name="connsiteY2" fmla="*/ 549488 h 549487"/>
                <a:gd name="connsiteX3" fmla="*/ 1039146 w 1039146"/>
                <a:gd name="connsiteY3" fmla="*/ 92897 h 549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9146" h="549487">
                  <a:moveTo>
                    <a:pt x="1039146" y="0"/>
                  </a:moveTo>
                  <a:lnTo>
                    <a:pt x="0" y="456591"/>
                  </a:lnTo>
                  <a:lnTo>
                    <a:pt x="0" y="549488"/>
                  </a:lnTo>
                  <a:lnTo>
                    <a:pt x="1039146" y="92897"/>
                  </a:lnTo>
                  <a:close/>
                </a:path>
              </a:pathLst>
            </a:custGeom>
            <a:solidFill>
              <a:srgbClr val="E22B26"/>
            </a:solidFill>
            <a:ln w="60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</p:spTree>
    <p:extLst>
      <p:ext uri="{BB962C8B-B14F-4D97-AF65-F5344CB8AC3E}">
        <p14:creationId xmlns:p14="http://schemas.microsoft.com/office/powerpoint/2010/main" val="304409245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CF413E9-40E0-A046-93E5-106433A74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732588" y="0"/>
            <a:ext cx="4789487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/>
            </a:lvl1pPr>
          </a:lstStyle>
          <a:p>
            <a:endParaRPr lang="en-RU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D9D474A-60EC-E841-9105-E6C88045642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60941" y="2006755"/>
            <a:ext cx="6428772" cy="2133445"/>
          </a:xfrm>
          <a:prstGeom prst="rect">
            <a:avLst/>
          </a:prstGeom>
          <a:noFill/>
        </p:spPr>
        <p:txBody>
          <a:bodyPr lIns="180000" tIns="180000" rIns="864000" bIns="36000" anchor="t" anchorCtr="0">
            <a:noAutofit/>
          </a:bodyPr>
          <a:lstStyle>
            <a:lvl1pPr algn="l">
              <a:lnSpc>
                <a:spcPct val="100000"/>
              </a:lnSpc>
              <a:defRPr sz="4700" b="0" i="0" cap="none" spc="200" baseline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Title slide header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363FA0F8-BE28-4D42-9479-7121AA2286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7169" y="4291538"/>
            <a:ext cx="5491162" cy="821799"/>
          </a:xfrm>
          <a:prstGeom prst="rect">
            <a:avLst/>
          </a:prstGeom>
        </p:spPr>
        <p:txBody>
          <a:bodyPr lIns="180000" rIns="864000" anchor="t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1800" b="0" i="0" smtClean="0">
                <a:solidFill>
                  <a:srgbClr val="19212C"/>
                </a:solidFill>
                <a:effectLst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ru-RU" dirty="0"/>
              <a:t>, </a:t>
            </a:r>
            <a:r>
              <a:rPr lang="en-GB" dirty="0" err="1"/>
              <a:t>consectetur</a:t>
            </a:r>
            <a:r>
              <a:rPr lang="en-GB" dirty="0"/>
              <a:t> </a:t>
            </a:r>
            <a:r>
              <a:rPr lang="en-GB" dirty="0" err="1"/>
              <a:t>adipiscing</a:t>
            </a:r>
            <a:r>
              <a:rPr lang="ru-RU" dirty="0"/>
              <a:t> </a:t>
            </a:r>
            <a:endParaRPr lang="en-RU" dirty="0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78953E9-97B3-7349-B94E-9C0EAD1142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26991" y="5351956"/>
            <a:ext cx="2345629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Докладчик</a:t>
            </a:r>
            <a:br>
              <a:rPr lang="ru-RU" dirty="0"/>
            </a:br>
            <a:r>
              <a:rPr lang="ru-RU" dirty="0"/>
              <a:t>Фамилия Имя Отчество</a:t>
            </a:r>
            <a:endParaRPr lang="en-RU" dirty="0"/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01D04850-D4C9-544F-ABD2-B2DF7CEDC3E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52975" y="5367504"/>
            <a:ext cx="1836738" cy="839654"/>
          </a:xfrm>
          <a:prstGeom prst="rect">
            <a:avLst/>
          </a:prstGeom>
        </p:spPr>
        <p:txBody>
          <a:bodyPr lIns="180000" rIns="864000" anchor="b"/>
          <a:lstStyle>
            <a:lvl1pPr marL="0" indent="0">
              <a:buFontTx/>
              <a:buNone/>
              <a:defRPr sz="13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Subtitle</a:t>
            </a:r>
            <a:endParaRPr lang="en-RU" dirty="0"/>
          </a:p>
        </p:txBody>
      </p:sp>
      <p:grpSp>
        <p:nvGrpSpPr>
          <p:cNvPr id="9" name="Graphic 2">
            <a:extLst>
              <a:ext uri="{FF2B5EF4-FFF2-40B4-BE49-F238E27FC236}">
                <a16:creationId xmlns:a16="http://schemas.microsoft.com/office/drawing/2014/main" id="{8C0088D3-3FA6-534C-8282-796801C56328}"/>
              </a:ext>
            </a:extLst>
          </p:cNvPr>
          <p:cNvGrpSpPr/>
          <p:nvPr userDrawn="1"/>
        </p:nvGrpSpPr>
        <p:grpSpPr>
          <a:xfrm>
            <a:off x="367238" y="406457"/>
            <a:ext cx="748776" cy="795503"/>
            <a:chOff x="4522787" y="1925637"/>
            <a:chExt cx="2472690" cy="2627001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351EB077-9AD1-B445-86CD-DC4638C0C451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F6ECA50A-7DD1-7640-BFAB-C6BF76ACE5E4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id="{F409EFD2-1E5F-934E-98FC-CB0FB9891DAB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grpSp>
        <p:nvGrpSpPr>
          <p:cNvPr id="2" name="Graphic 14">
            <a:extLst>
              <a:ext uri="{FF2B5EF4-FFF2-40B4-BE49-F238E27FC236}">
                <a16:creationId xmlns:a16="http://schemas.microsoft.com/office/drawing/2014/main" id="{EFA7B93E-DE11-0C42-9FDB-635B9BB922E3}"/>
              </a:ext>
            </a:extLst>
          </p:cNvPr>
          <p:cNvGrpSpPr/>
          <p:nvPr/>
        </p:nvGrpSpPr>
        <p:grpSpPr>
          <a:xfrm>
            <a:off x="322778" y="5445861"/>
            <a:ext cx="837693" cy="720718"/>
            <a:chOff x="322778" y="5445861"/>
            <a:chExt cx="837693" cy="720718"/>
          </a:xfrm>
        </p:grpSpPr>
        <p:grpSp>
          <p:nvGrpSpPr>
            <p:cNvPr id="3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349290" y="5786435"/>
              <a:ext cx="327743" cy="106553"/>
              <a:chOff x="349290" y="5786435"/>
              <a:chExt cx="327743" cy="106553"/>
            </a:xfrm>
            <a:solidFill>
              <a:srgbClr val="CFD4D9"/>
            </a:solidFill>
          </p:grpSpPr>
          <p:sp>
            <p:nvSpPr>
              <p:cNvPr id="4" name="Freeform 3">
                <a:extLst>
                  <a:ext uri="{FF2B5EF4-FFF2-40B4-BE49-F238E27FC236}">
                    <a16:creationId xmlns:a16="http://schemas.microsoft.com/office/drawing/2014/main" id="{FD809D4D-CEFB-CD44-890E-6CC8CAE30F89}"/>
                  </a:ext>
                </a:extLst>
              </p:cNvPr>
              <p:cNvSpPr/>
              <p:nvPr/>
            </p:nvSpPr>
            <p:spPr>
              <a:xfrm>
                <a:off x="349290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" name="Freeform 4">
                <a:extLst>
                  <a:ext uri="{FF2B5EF4-FFF2-40B4-BE49-F238E27FC236}">
                    <a16:creationId xmlns:a16="http://schemas.microsoft.com/office/drawing/2014/main" id="{1570AD26-5BB7-D94D-AE4F-C426093ED2DA}"/>
                  </a:ext>
                </a:extLst>
              </p:cNvPr>
              <p:cNvSpPr/>
              <p:nvPr/>
            </p:nvSpPr>
            <p:spPr>
              <a:xfrm>
                <a:off x="432778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DB71EE2F-B57B-C04F-B3F8-2F632116B5E8}"/>
                  </a:ext>
                </a:extLst>
              </p:cNvPr>
              <p:cNvSpPr/>
              <p:nvPr/>
            </p:nvSpPr>
            <p:spPr>
              <a:xfrm>
                <a:off x="501316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23DEF7E2-7DC1-4942-9C85-106595C0C28B}"/>
                  </a:ext>
                </a:extLst>
              </p:cNvPr>
              <p:cNvSpPr/>
              <p:nvPr/>
            </p:nvSpPr>
            <p:spPr>
              <a:xfrm>
                <a:off x="557444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9872F911-B5E6-5445-A16F-4041EA39AAD7}"/>
                  </a:ext>
                </a:extLst>
              </p:cNvPr>
              <p:cNvSpPr/>
              <p:nvPr/>
            </p:nvSpPr>
            <p:spPr>
              <a:xfrm>
                <a:off x="622880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723AD634-2BE8-314E-AFDC-4D639CC30A8F}"/>
                </a:ext>
              </a:extLst>
            </p:cNvPr>
            <p:cNvSpPr/>
            <p:nvPr/>
          </p:nvSpPr>
          <p:spPr>
            <a:xfrm>
              <a:off x="691419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D2ACB3F3-4CB4-8444-8A0E-8DF00021317C}"/>
                </a:ext>
              </a:extLst>
            </p:cNvPr>
            <p:cNvSpPr/>
            <p:nvPr/>
          </p:nvSpPr>
          <p:spPr>
            <a:xfrm>
              <a:off x="780829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1848144D-6708-7A4D-A281-F5E054E1DD23}"/>
                </a:ext>
              </a:extLst>
            </p:cNvPr>
            <p:cNvSpPr/>
            <p:nvPr/>
          </p:nvSpPr>
          <p:spPr>
            <a:xfrm>
              <a:off x="846265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68D39686-802C-5F4F-A5D0-4245BDBF74BA}"/>
                </a:ext>
              </a:extLst>
            </p:cNvPr>
            <p:cNvSpPr/>
            <p:nvPr/>
          </p:nvSpPr>
          <p:spPr>
            <a:xfrm>
              <a:off x="910291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E4A55DE7-CA8E-0840-8A5D-CAC473787E8B}"/>
                </a:ext>
              </a:extLst>
            </p:cNvPr>
            <p:cNvSpPr/>
            <p:nvPr/>
          </p:nvSpPr>
          <p:spPr>
            <a:xfrm>
              <a:off x="968111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4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1031291" y="5811024"/>
              <a:ext cx="110282" cy="59918"/>
              <a:chOff x="1031291" y="5811024"/>
              <a:chExt cx="110282" cy="59918"/>
            </a:xfrm>
            <a:solidFill>
              <a:srgbClr val="CFD4D9"/>
            </a:solidFill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594A101E-06B7-1947-9317-FC7D7E0291F8}"/>
                  </a:ext>
                </a:extLst>
              </p:cNvPr>
              <p:cNvSpPr/>
              <p:nvPr/>
            </p:nvSpPr>
            <p:spPr>
              <a:xfrm>
                <a:off x="1031291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F755969-685C-9E45-8E21-154064CC4ACA}"/>
                  </a:ext>
                </a:extLst>
              </p:cNvPr>
              <p:cNvSpPr/>
              <p:nvPr/>
            </p:nvSpPr>
            <p:spPr>
              <a:xfrm>
                <a:off x="1087701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11356EE0-0A07-F142-85BE-2D1A3DE3BDD7}"/>
                </a:ext>
              </a:extLst>
            </p:cNvPr>
            <p:cNvSpPr/>
            <p:nvPr/>
          </p:nvSpPr>
          <p:spPr>
            <a:xfrm>
              <a:off x="351829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28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417829" y="5933970"/>
              <a:ext cx="245948" cy="82246"/>
              <a:chOff x="417829" y="5933970"/>
              <a:chExt cx="245948" cy="82246"/>
            </a:xfrm>
            <a:solidFill>
              <a:srgbClr val="CFD4D9"/>
            </a:solidFill>
          </p:grpSpPr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D43FD1D5-41D8-2A4E-B5DC-49B4F5A818F2}"/>
                  </a:ext>
                </a:extLst>
              </p:cNvPr>
              <p:cNvSpPr/>
              <p:nvPr/>
            </p:nvSpPr>
            <p:spPr>
              <a:xfrm>
                <a:off x="417829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1E64769E-32E5-9F47-9D5B-5483F8F4DE50}"/>
                  </a:ext>
                </a:extLst>
              </p:cNvPr>
              <p:cNvSpPr/>
              <p:nvPr/>
            </p:nvSpPr>
            <p:spPr>
              <a:xfrm>
                <a:off x="482983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9B71F156-CD9A-034F-9CBB-CBAB2ECAA703}"/>
                  </a:ext>
                </a:extLst>
              </p:cNvPr>
              <p:cNvSpPr/>
              <p:nvPr/>
            </p:nvSpPr>
            <p:spPr>
              <a:xfrm>
                <a:off x="541932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99AA9C04-C6E9-E342-A945-C5B4E2EAE82C}"/>
                  </a:ext>
                </a:extLst>
              </p:cNvPr>
              <p:cNvSpPr/>
              <p:nvPr/>
            </p:nvSpPr>
            <p:spPr>
              <a:xfrm>
                <a:off x="608214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81962B0C-2005-EF40-9A1E-B753FA614827}"/>
                </a:ext>
              </a:extLst>
            </p:cNvPr>
            <p:cNvSpPr/>
            <p:nvPr/>
          </p:nvSpPr>
          <p:spPr>
            <a:xfrm>
              <a:off x="673650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D5422049-BD4A-B140-88D7-FA949505F6A7}"/>
                </a:ext>
              </a:extLst>
            </p:cNvPr>
            <p:cNvSpPr/>
            <p:nvPr/>
          </p:nvSpPr>
          <p:spPr>
            <a:xfrm>
              <a:off x="755162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5FF7B6FA-8C8D-6E47-A9DF-DF291042086E}"/>
                </a:ext>
              </a:extLst>
            </p:cNvPr>
            <p:cNvSpPr/>
            <p:nvPr/>
          </p:nvSpPr>
          <p:spPr>
            <a:xfrm>
              <a:off x="819470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E0AF6EFB-1E57-E94C-AC8D-487785EE95FB}"/>
                </a:ext>
              </a:extLst>
            </p:cNvPr>
            <p:cNvSpPr/>
            <p:nvPr/>
          </p:nvSpPr>
          <p:spPr>
            <a:xfrm>
              <a:off x="886598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67BCDA38-3E2E-3B41-9481-C92AE6AD1D32}"/>
                </a:ext>
              </a:extLst>
            </p:cNvPr>
            <p:cNvSpPr/>
            <p:nvPr/>
          </p:nvSpPr>
          <p:spPr>
            <a:xfrm>
              <a:off x="953727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344C2DB0-5C48-B34D-A28C-AFECC7A74E5E}"/>
                </a:ext>
              </a:extLst>
            </p:cNvPr>
            <p:cNvSpPr/>
            <p:nvPr/>
          </p:nvSpPr>
          <p:spPr>
            <a:xfrm>
              <a:off x="1026778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9" name="Graphic 14">
              <a:extLst>
                <a:ext uri="{FF2B5EF4-FFF2-40B4-BE49-F238E27FC236}">
                  <a16:creationId xmlns:a16="http://schemas.microsoft.com/office/drawing/2014/main" id="{EFA7B93E-DE11-0C42-9FDB-635B9BB922E3}"/>
                </a:ext>
              </a:extLst>
            </p:cNvPr>
            <p:cNvGrpSpPr/>
            <p:nvPr/>
          </p:nvGrpSpPr>
          <p:grpSpPr>
            <a:xfrm>
              <a:off x="351829" y="6057199"/>
              <a:ext cx="116205" cy="82246"/>
              <a:chOff x="351829" y="6057199"/>
              <a:chExt cx="116205" cy="82246"/>
            </a:xfrm>
            <a:solidFill>
              <a:srgbClr val="CFD4D9"/>
            </a:solidFill>
          </p:grpSpPr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0870A2C9-2722-2D42-A794-AB0269D968C3}"/>
                  </a:ext>
                </a:extLst>
              </p:cNvPr>
              <p:cNvSpPr/>
              <p:nvPr/>
            </p:nvSpPr>
            <p:spPr>
              <a:xfrm>
                <a:off x="351829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28189C74-7479-0C4B-8B0E-4F62FF8E26F5}"/>
                  </a:ext>
                </a:extLst>
              </p:cNvPr>
              <p:cNvSpPr/>
              <p:nvPr/>
            </p:nvSpPr>
            <p:spPr>
              <a:xfrm>
                <a:off x="416701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EE55384D-3B34-9946-8EF3-4606A317DEE6}"/>
                </a:ext>
              </a:extLst>
            </p:cNvPr>
            <p:cNvSpPr/>
            <p:nvPr/>
          </p:nvSpPr>
          <p:spPr>
            <a:xfrm>
              <a:off x="482137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FFB921AC-9713-554E-8CF1-4B3D02CE14F8}"/>
                </a:ext>
              </a:extLst>
            </p:cNvPr>
            <p:cNvSpPr/>
            <p:nvPr/>
          </p:nvSpPr>
          <p:spPr>
            <a:xfrm>
              <a:off x="571547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6EE2926A-3DFB-D54D-AD92-032FA5608BFB}"/>
                </a:ext>
              </a:extLst>
            </p:cNvPr>
            <p:cNvSpPr/>
            <p:nvPr/>
          </p:nvSpPr>
          <p:spPr>
            <a:xfrm>
              <a:off x="636983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D4A249C8-809F-A44B-A673-3F0FCD684A54}"/>
                </a:ext>
              </a:extLst>
            </p:cNvPr>
            <p:cNvSpPr/>
            <p:nvPr/>
          </p:nvSpPr>
          <p:spPr>
            <a:xfrm>
              <a:off x="704111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D745E468-FFD0-CF42-B9A0-224DF613E7E0}"/>
                </a:ext>
              </a:extLst>
            </p:cNvPr>
            <p:cNvSpPr/>
            <p:nvPr/>
          </p:nvSpPr>
          <p:spPr>
            <a:xfrm>
              <a:off x="770111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1FC246AC-160C-4340-9035-2C36C4A6F42B}"/>
                </a:ext>
              </a:extLst>
            </p:cNvPr>
            <p:cNvSpPr/>
            <p:nvPr/>
          </p:nvSpPr>
          <p:spPr>
            <a:xfrm>
              <a:off x="346188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</p:spTree>
    <p:extLst>
      <p:ext uri="{BB962C8B-B14F-4D97-AF65-F5344CB8AC3E}">
        <p14:creationId xmlns:p14="http://schemas.microsoft.com/office/powerpoint/2010/main" val="37931938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1"/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F2470D-FE3A-D142-BD29-D6DCE3FC6B06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9D7150-06E9-6947-AA7E-D44BB26EF6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121" y="1957397"/>
            <a:ext cx="1766517" cy="1500823"/>
          </a:xfrm>
          <a:prstGeom prst="rect">
            <a:avLst/>
          </a:prstGeom>
        </p:spPr>
        <p:txBody>
          <a:bodyPr lIns="36000" rIns="36000" anchor="b"/>
          <a:lstStyle>
            <a:lvl1pPr marL="0" indent="0">
              <a:buFontTx/>
              <a:buNone/>
              <a:defRPr sz="89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1.</a:t>
            </a:r>
            <a:endParaRPr lang="en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073263" y="2427825"/>
            <a:ext cx="8214770" cy="2613024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55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RU" dirty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354AB68-1687-054E-852E-E8222B1E3C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21886E4-4545-DE4F-B871-DC9883391B7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440988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0" y="1331915"/>
            <a:ext cx="6373813" cy="3816349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55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en-RU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A7F86-BC36-3241-91E5-D03882836D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32588" y="1331915"/>
            <a:ext cx="4429124" cy="3816348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D176CE-8965-5349-9FBA-5A96377315F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01B00CD-A1FA-E242-8C42-584DF7EACB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45546C9A-5E11-424E-858D-8C2913D9A7B7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4CD8EB8-EB60-2F4E-88CC-EAA88C251C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009899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10850" y="1338782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E234472-3A79-734B-9127-2E39BF1704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3595" y="1343160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1</a:t>
            </a:r>
            <a:endParaRPr lang="en-RU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F8A3B24-DB1D-D348-9CC0-41A5E0834DF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4CB1BE9-50A2-7C4D-9CF7-3464B2DF4F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22" name="Slide Number Placeholder 1">
            <a:extLst>
              <a:ext uri="{FF2B5EF4-FFF2-40B4-BE49-F238E27FC236}">
                <a16:creationId xmlns:a16="http://schemas.microsoft.com/office/drawing/2014/main" id="{5FAF87A9-D7BE-BB43-9797-C43BB67B41B6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2BE3C1B-5529-D447-AB7F-DAD0525203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10850" y="2342560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C5D355C5-5EF1-264B-BB84-8EE513EF865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73595" y="2346938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2</a:t>
            </a:r>
            <a:endParaRPr lang="en-RU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3E908FB7-7107-9144-9347-A345944ECA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10850" y="3318837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C22DB187-9EE2-FA49-9AB7-1C9430B1C1E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73595" y="3323215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3</a:t>
            </a:r>
            <a:endParaRPr lang="en-RU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668AFE12-336C-8147-938D-A97B4AFA69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10850" y="4288238"/>
            <a:ext cx="7114125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780448E5-AEF3-5C44-9DA9-9E7E0067104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3595" y="4292616"/>
            <a:ext cx="782088" cy="85235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3600" b="0" i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4</a:t>
            </a:r>
            <a:endParaRPr lang="en-RU" dirty="0"/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05E0B9DD-EF5B-2140-9D97-C7B87DE0EE6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559647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81938" y="2346850"/>
            <a:ext cx="2570925" cy="179333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E234472-3A79-734B-9127-2E39BF1704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60475" y="1338788"/>
            <a:ext cx="1115702" cy="856725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1</a:t>
            </a:r>
            <a:endParaRPr lang="en-RU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E84E3E2-55B9-A64C-9522-E34E7A416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69325" y="1323164"/>
            <a:ext cx="1115702" cy="872349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3</a:t>
            </a:r>
            <a:endParaRPr lang="en-RU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22A95B7-1960-3C46-A3E2-A69CF73DA5F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39238" y="2346849"/>
            <a:ext cx="2585512" cy="179334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CF245511-1FDC-9D4A-843B-BA998A6CF7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583075" y="2349669"/>
            <a:ext cx="2578637" cy="17905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A1A4C7-71E6-764B-9C70-8194D70344F3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C07EC68B-0BD4-B342-A3B0-C0D70F6032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134CABE2-6F52-6348-8C28-44587CA34A5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8D7DD4C2-07BC-9A4D-8A70-75B70037A3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2363" y="1343790"/>
            <a:ext cx="1115702" cy="851723"/>
          </a:xfrm>
          <a:prstGeom prst="rect">
            <a:avLst/>
          </a:prstGeom>
        </p:spPr>
        <p:txBody>
          <a:bodyPr lIns="36000" rIns="36000"/>
          <a:lstStyle>
            <a:lvl1pPr marL="0" indent="0">
              <a:buFontTx/>
              <a:buNone/>
              <a:defRPr sz="5500" b="0" i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02</a:t>
            </a:r>
            <a:endParaRPr lang="en-RU" dirty="0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AD213586-4C43-3D44-8BBC-537D779ACB7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159AE10C-77F0-FC45-B9CD-F1DC292A74E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73664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RU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8800D21D-4820-DD46-BE4F-22711F8F51F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931264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RU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FFDA42-F94E-534A-842B-A47C3F5FE4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67843" y="4291532"/>
            <a:ext cx="2579200" cy="8567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RU" sz="8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8616011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97101" y="838197"/>
            <a:ext cx="8964612" cy="85309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ext slide</a:t>
            </a:r>
            <a:endParaRPr lang="en-RU"/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49E34B46-60CE-4E4E-83A8-E47657DF86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33B75BF-1C22-0043-80DE-27C41E8F0B0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BB229FDE-5838-2549-8A7F-C7DC26582F4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16EFFABE-3A94-D544-889A-12AED59BDE2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C482FBEA-12A2-144F-AE69-EF53820D4D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03977" y="2346849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  <a:endParaRPr lang="en-US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F344EFF9-3336-EC46-A692-2A234BA5E9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0363" y="2344977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C9696876-5A37-BD4F-8C96-BD1111D4CEC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5832475" y="2344977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735024CD-15EF-224E-BF88-02F411F77D7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60363" y="4284663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28" name="Picture Placeholder 5">
            <a:extLst>
              <a:ext uri="{FF2B5EF4-FFF2-40B4-BE49-F238E27FC236}">
                <a16:creationId xmlns:a16="http://schemas.microsoft.com/office/drawing/2014/main" id="{E868AB3A-F096-2540-AF41-F164BA18671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832475" y="4284663"/>
            <a:ext cx="1692275" cy="17952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C0F291-A0E6-7544-9EA2-4DFD4003C63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197101" y="3002795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en-RU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en-RU" dirty="0"/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F6BBC3D-8D0B-C243-BF20-BC4FF5CAAB8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672991" y="2346849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  <a:endParaRPr lang="en-US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D05AC4CC-BCEB-4846-8465-147A1EB1FD8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72991" y="3002795"/>
            <a:ext cx="1651983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en-RU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en-RU" dirty="0"/>
          </a:p>
        </p:txBody>
      </p:sp>
      <p:sp>
        <p:nvSpPr>
          <p:cNvPr id="35" name="Text Placeholder 8">
            <a:extLst>
              <a:ext uri="{FF2B5EF4-FFF2-40B4-BE49-F238E27FC236}">
                <a16:creationId xmlns:a16="http://schemas.microsoft.com/office/drawing/2014/main" id="{9952AC09-3CFC-F148-A8F4-E73A5FE3969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03977" y="4291263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  <a:endParaRPr lang="en-US" dirty="0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0161F4A-50C3-264C-A222-B046510BB7E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197101" y="4947209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en-RU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en-RU" dirty="0"/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27BA8302-402C-704C-A719-FDF6F840017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672991" y="4291263"/>
            <a:ext cx="1655762" cy="62802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  <a:endParaRPr lang="en-US" dirty="0"/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E3FBDBA-8D47-A149-A13B-07DAA55A691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672991" y="4947209"/>
            <a:ext cx="1675729" cy="502502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lang="en-RU" sz="2400" kern="1200" dirty="0">
                <a:solidFill>
                  <a:srgbClr val="E41910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10 000</a:t>
            </a:r>
            <a:endParaRPr lang="en-RU" dirty="0"/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04F35FED-5463-7446-B94B-5C6AB0FDEAD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197101" y="3548002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1CD1BB7F-5F50-EA43-B9AC-61FA6101C7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197101" y="5476815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359F3C84-0FE3-3243-8295-FAACAC9CF383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69214" y="3548002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27591116-0285-B04A-85C5-54F43CE8EB6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69214" y="5476815"/>
            <a:ext cx="1692275" cy="628028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  <a:p>
            <a:pPr lvl="0"/>
            <a:r>
              <a:rPr lang="en-GB" dirty="0"/>
              <a:t>LIST TEXT SLIDE</a:t>
            </a:r>
          </a:p>
        </p:txBody>
      </p:sp>
    </p:spTree>
    <p:extLst>
      <p:ext uri="{BB962C8B-B14F-4D97-AF65-F5344CB8AC3E}">
        <p14:creationId xmlns:p14="http://schemas.microsoft.com/office/powerpoint/2010/main" val="18427624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345664"/>
            <a:ext cx="5329237" cy="8636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ead text slide</a:t>
            </a:r>
            <a:endParaRPr lang="en-RU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98AB53B-2108-4743-AC4F-B1874EB3FB7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362" y="2339975"/>
            <a:ext cx="4429125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8DE9EE9-182D-4E45-8D06-E69B6D119999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E9F005A9-80EA-F448-B480-B42CA8E154D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54E0486-F9F5-7A4B-8D77-90BF9D5CC61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5522A4A-85D5-7D4F-B104-DC1E4CB76B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0363" y="4879307"/>
            <a:ext cx="4429125" cy="403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>
                <a:solidFill>
                  <a:srgbClr val="E4191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17" name="Picture Placeholder 5">
            <a:extLst>
              <a:ext uri="{FF2B5EF4-FFF2-40B4-BE49-F238E27FC236}">
                <a16:creationId xmlns:a16="http://schemas.microsoft.com/office/drawing/2014/main" id="{20D27B0A-492E-FE46-BD33-E5439E44145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69325" y="1345663"/>
            <a:ext cx="2582471" cy="182298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62E12031-D7D1-794A-833C-26A9FD16281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583075" y="3325717"/>
            <a:ext cx="2582471" cy="182298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74057F-E124-9547-ABAD-B42AA5B7B37B}"/>
              </a:ext>
            </a:extLst>
          </p:cNvPr>
          <p:cNvCxnSpPr>
            <a:cxnSpLocks/>
          </p:cNvCxnSpPr>
          <p:nvPr userDrawn="1"/>
        </p:nvCxnSpPr>
        <p:spPr>
          <a:xfrm>
            <a:off x="5832475" y="1324719"/>
            <a:ext cx="2592388" cy="0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B2AB1DB-971D-8747-BFAE-5CE0B3C7F392}"/>
              </a:ext>
            </a:extLst>
          </p:cNvPr>
          <p:cNvCxnSpPr>
            <a:cxnSpLocks/>
          </p:cNvCxnSpPr>
          <p:nvPr userDrawn="1"/>
        </p:nvCxnSpPr>
        <p:spPr>
          <a:xfrm>
            <a:off x="5832475" y="3318523"/>
            <a:ext cx="2592388" cy="0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7878CDD-7378-184E-8786-ED51770EBB3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67239" y="3337307"/>
            <a:ext cx="4422250" cy="13928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/>
              <a:t>text</a:t>
            </a:r>
            <a:endParaRPr lang="en-RU" dirty="0"/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1C9016C-BCCA-B845-8CCF-7A68B5C3D4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9A93F06D-AAA5-0840-883D-A275989DDA8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32474" y="3380479"/>
            <a:ext cx="2582471" cy="7597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RU" sz="10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7DFAF5D3-F8A2-0543-AD13-8CBE1B38E68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832474" y="1436065"/>
            <a:ext cx="2582471" cy="7597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lang="en-RU" sz="1000" kern="1200" dirty="0">
                <a:solidFill>
                  <a:srgbClr val="7F818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519130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70952E2-095A-2E44-83CA-549CAE021D6A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55B4424F-E9A4-B64A-A121-FAF1DC93A5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D66A5C7E-634F-7E4E-A121-EAA66A298BFD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8DD911FC-486A-3949-80D0-AD9DA57ED5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839301"/>
            <a:ext cx="8964612" cy="73510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0F420DA-FEA2-1346-9F42-53BB8EF03F1E}"/>
              </a:ext>
            </a:extLst>
          </p:cNvPr>
          <p:cNvCxnSpPr>
            <a:cxnSpLocks/>
          </p:cNvCxnSpPr>
          <p:nvPr userDrawn="1"/>
        </p:nvCxnSpPr>
        <p:spPr>
          <a:xfrm flipV="1">
            <a:off x="2052638" y="3168650"/>
            <a:ext cx="0" cy="2951163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Picture Placeholder 5">
            <a:extLst>
              <a:ext uri="{FF2B5EF4-FFF2-40B4-BE49-F238E27FC236}">
                <a16:creationId xmlns:a16="http://schemas.microsoft.com/office/drawing/2014/main" id="{51633BB1-389F-1144-8C7B-97796644B04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0363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C36B5D-585F-2A4A-BA6D-D2340411F9ED}"/>
              </a:ext>
            </a:extLst>
          </p:cNvPr>
          <p:cNvCxnSpPr>
            <a:cxnSpLocks/>
          </p:cNvCxnSpPr>
          <p:nvPr userDrawn="1"/>
        </p:nvCxnSpPr>
        <p:spPr>
          <a:xfrm flipV="1">
            <a:off x="3852863" y="3168650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Picture Placeholder 5">
            <a:extLst>
              <a:ext uri="{FF2B5EF4-FFF2-40B4-BE49-F238E27FC236}">
                <a16:creationId xmlns:a16="http://schemas.microsoft.com/office/drawing/2014/main" id="{4C3700DC-A432-4B43-B826-E3A8F547B9E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20978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0F0ADDC1-EE47-1C4E-942C-58CC5BD7757A}"/>
              </a:ext>
            </a:extLst>
          </p:cNvPr>
          <p:cNvCxnSpPr>
            <a:cxnSpLocks/>
          </p:cNvCxnSpPr>
          <p:nvPr userDrawn="1"/>
        </p:nvCxnSpPr>
        <p:spPr>
          <a:xfrm flipV="1">
            <a:off x="5689613" y="3182400"/>
            <a:ext cx="0" cy="2951163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FECF624-364C-4340-8042-F2FE8E5EC0AD}"/>
              </a:ext>
            </a:extLst>
          </p:cNvPr>
          <p:cNvCxnSpPr>
            <a:cxnSpLocks/>
          </p:cNvCxnSpPr>
          <p:nvPr userDrawn="1"/>
        </p:nvCxnSpPr>
        <p:spPr>
          <a:xfrm flipV="1">
            <a:off x="7524750" y="3182400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A6A269A-8815-054F-85B6-22982CD32CF2}"/>
              </a:ext>
            </a:extLst>
          </p:cNvPr>
          <p:cNvCxnSpPr>
            <a:cxnSpLocks/>
          </p:cNvCxnSpPr>
          <p:nvPr userDrawn="1"/>
        </p:nvCxnSpPr>
        <p:spPr>
          <a:xfrm flipV="1">
            <a:off x="9326049" y="3196151"/>
            <a:ext cx="0" cy="2960695"/>
          </a:xfrm>
          <a:prstGeom prst="line">
            <a:avLst/>
          </a:prstGeom>
          <a:ln w="9525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icture Placeholder 5">
            <a:extLst>
              <a:ext uri="{FF2B5EF4-FFF2-40B4-BE49-F238E27FC236}">
                <a16:creationId xmlns:a16="http://schemas.microsoft.com/office/drawing/2014/main" id="{764CD148-00F8-FE40-A2B3-8AB5A343BF30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004213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38" name="Picture Placeholder 5">
            <a:extLst>
              <a:ext uri="{FF2B5EF4-FFF2-40B4-BE49-F238E27FC236}">
                <a16:creationId xmlns:a16="http://schemas.microsoft.com/office/drawing/2014/main" id="{5D40EB24-AD09-7F4C-969E-B3BE68A7715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585363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FFF68ACD-A616-3844-9D66-B22C8BF8B734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682439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40" name="Picture Placeholder 5">
            <a:extLst>
              <a:ext uri="{FF2B5EF4-FFF2-40B4-BE49-F238E27FC236}">
                <a16:creationId xmlns:a16="http://schemas.microsoft.com/office/drawing/2014/main" id="{5B0AA984-A5D6-B742-9BB7-E99EDDCB0F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483738" y="3321057"/>
            <a:ext cx="1550938" cy="126469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en-RU"/>
          </a:p>
        </p:txBody>
      </p:sp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14851BAA-B6AD-D245-823D-E08B4F2A8B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BB5014-32B3-124F-9DB5-51C37BEAA84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0363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70E7893C-6B53-3B40-9CCB-4CD0797E061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199673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C353D03F-1C7E-CE4D-B6E1-C4A4483E704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996942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3337F8D4-84BD-FE42-A3A9-941C6CB1194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836252" y="5304984"/>
            <a:ext cx="1685925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78732E4-A209-8549-BF80-46348B740FB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75564" y="5304984"/>
            <a:ext cx="1551486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AB3D9B9F-A9DA-6748-9B2E-2A7FAAF395B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472833" y="5304984"/>
            <a:ext cx="1551486" cy="352425"/>
          </a:xfrm>
          <a:prstGeom prst="rect">
            <a:avLst/>
          </a:prstGeom>
        </p:spPr>
        <p:txBody>
          <a:bodyPr/>
          <a:lstStyle>
            <a:lvl1pPr>
              <a:buFontTx/>
              <a:buNone/>
              <a:defRPr sz="800">
                <a:solidFill>
                  <a:srgbClr val="7F8183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0792B98F-E053-9B41-A695-D88F2071F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363" y="1847817"/>
            <a:ext cx="8964612" cy="863600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3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844FC93D-94CE-FA4A-8AB4-A75C81CF62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723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33" name="Text Placeholder 8">
            <a:extLst>
              <a:ext uri="{FF2B5EF4-FFF2-40B4-BE49-F238E27FC236}">
                <a16:creationId xmlns:a16="http://schemas.microsoft.com/office/drawing/2014/main" id="{093E4E4E-81A6-1947-A3A0-3A9BB955324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2097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92906C78-7CBE-BD4F-A712-5984395875D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0110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44" name="Text Placeholder 8">
            <a:extLst>
              <a:ext uri="{FF2B5EF4-FFF2-40B4-BE49-F238E27FC236}">
                <a16:creationId xmlns:a16="http://schemas.microsoft.com/office/drawing/2014/main" id="{1535D0ED-197B-6943-B155-922CD6C35DB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39888" y="4604899"/>
            <a:ext cx="1678525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46" name="Text Placeholder 8">
            <a:extLst>
              <a:ext uri="{FF2B5EF4-FFF2-40B4-BE49-F238E27FC236}">
                <a16:creationId xmlns:a16="http://schemas.microsoft.com/office/drawing/2014/main" id="{ABE019FB-8D6D-954A-8A33-C742E888B23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682439" y="4604899"/>
            <a:ext cx="1544611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5E7DC241-A9BE-A846-8179-1BB3D5F402B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476863" y="4604899"/>
            <a:ext cx="1544611" cy="275918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</p:spTree>
    <p:extLst>
      <p:ext uri="{BB962C8B-B14F-4D97-AF65-F5344CB8AC3E}">
        <p14:creationId xmlns:p14="http://schemas.microsoft.com/office/powerpoint/2010/main" val="2544582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67350" y="4284664"/>
            <a:ext cx="8957738" cy="863599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60475" y="1331913"/>
            <a:ext cx="1692275" cy="1836737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en-RU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33D6222-9800-8D43-9D80-0E2EC5A8DC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932363" y="1331913"/>
            <a:ext cx="1692275" cy="1836737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en-RU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B33A9A-57E1-A549-8745-8EC438FB048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569326" y="1331914"/>
            <a:ext cx="1655762" cy="1836736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en-RU" dirty="0"/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9B905518-2D7F-0240-A1D8-DA8BBE84B0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67350" y="5299599"/>
            <a:ext cx="8957738" cy="365125"/>
          </a:xfrm>
          <a:prstGeom prst="rect">
            <a:avLst/>
          </a:prstGeom>
        </p:spPr>
        <p:txBody>
          <a:bodyPr anchor="b"/>
          <a:lstStyle>
            <a:lvl1pPr marL="0" indent="0" algn="ctr">
              <a:buFontTx/>
              <a:buNone/>
              <a:defRPr sz="11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Description text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E3C393C-3885-0E44-A85A-ECDB39A626E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E231F51B-9E6C-E842-B5E8-31A30E7C1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25" name="Slide Number Placeholder 1">
            <a:extLst>
              <a:ext uri="{FF2B5EF4-FFF2-40B4-BE49-F238E27FC236}">
                <a16:creationId xmlns:a16="http://schemas.microsoft.com/office/drawing/2014/main" id="{C9BAF930-1688-BF49-BE52-26E5F367F213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DD0DB3B0-9E26-FD42-8EF7-C67E9992F4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9812B3-4792-8040-A022-DC10D37E5D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260475" y="3319986"/>
            <a:ext cx="1685925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A6114E0-B038-3440-A1CF-C88076BA92D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939095" y="3319986"/>
            <a:ext cx="1685925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C63FA3E-FD0F-E54F-B9B7-B88D361207B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575674" y="3319986"/>
            <a:ext cx="1685926" cy="352425"/>
          </a:xfrm>
          <a:prstGeom prst="rect">
            <a:avLst/>
          </a:prstGeom>
        </p:spPr>
        <p:txBody>
          <a:bodyPr/>
          <a:lstStyle>
            <a:lvl1pPr algn="ctr"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1086494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7325" y="1342991"/>
            <a:ext cx="7157512" cy="852522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C451E8F1-06AC-5E48-82A9-E50EF6EE035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0363" y="4284664"/>
            <a:ext cx="3492500" cy="1835150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en-RU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A3728B20-05DF-8D48-9BC9-AD82435F58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97324" y="2346851"/>
            <a:ext cx="3527425" cy="14368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95BB0516-65D5-6E44-AB28-CF1B7A61745A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3997326" y="4284663"/>
            <a:ext cx="7164386" cy="182383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000" b="1"/>
            </a:lvl1pPr>
          </a:lstStyle>
          <a:p>
            <a:endParaRPr lang="en-RU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20F3548-A10E-6A4F-B50B-684D6187D9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7238" y="1346497"/>
            <a:ext cx="3485622" cy="1822153"/>
          </a:xfrm>
          <a:prstGeom prst="rect">
            <a:avLst/>
          </a:prstGeom>
        </p:spPr>
        <p:txBody>
          <a:bodyPr anchor="t"/>
          <a:lstStyle>
            <a:lvl1pPr marL="0" indent="0">
              <a:buFontTx/>
              <a:buNone/>
              <a:defRPr lang="en-GB" sz="2400" b="0" i="0" smtClean="0">
                <a:effectLst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,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endParaRPr lang="en-RU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B81A5F8-97CA-E243-8010-1A3C14C3482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69213" y="2346851"/>
            <a:ext cx="3485624" cy="1436873"/>
          </a:xfrm>
          <a:prstGeom prst="rect">
            <a:avLst/>
          </a:prstGeo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text slide</a:t>
            </a:r>
            <a:endParaRPr lang="en-RU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3033578-7F9F-3F4D-A7B9-83608E33B45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D141FB2-ACC8-F840-9FFF-5DFEDC6B5E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7FEE8271-349B-7F46-84E5-57DB4F6BE18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31" name="Slide Number Placeholder 1">
            <a:extLst>
              <a:ext uri="{FF2B5EF4-FFF2-40B4-BE49-F238E27FC236}">
                <a16:creationId xmlns:a16="http://schemas.microsoft.com/office/drawing/2014/main" id="{10F2E919-487E-A444-B61C-A3EBE0C04671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2091F0F-CB18-734E-8DE8-87F3F185F3F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0363" y="3801979"/>
            <a:ext cx="1685925" cy="319845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53DC2EAD-6ECD-CF4D-B0A3-7D0A6738B9B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996943" y="3801979"/>
            <a:ext cx="1685925" cy="319845"/>
          </a:xfrm>
          <a:prstGeom prst="rect">
            <a:avLst/>
          </a:prstGeom>
        </p:spPr>
        <p:txBody>
          <a:bodyPr anchor="b"/>
          <a:lstStyle>
            <a:lvl1pPr>
              <a:buFontTx/>
              <a:buNone/>
              <a:defRPr sz="800">
                <a:solidFill>
                  <a:srgbClr val="E41910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sz="800" dirty="0"/>
              <a:t>LIST TEXT SLIDE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284388388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940" y="1187451"/>
            <a:ext cx="3486922" cy="4932344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en-RU" dirty="0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33D6222-9800-8D43-9D80-0E2EC5A8DC6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997325" y="1187451"/>
            <a:ext cx="3527426" cy="493235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en-RU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B784A6F-340A-2941-87C9-A4B20857D7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9213" y="1187451"/>
            <a:ext cx="349250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en-RU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C246C5F-8780-7248-AE97-EF179949CD2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6088" y="2346850"/>
            <a:ext cx="3492500" cy="280141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en-RU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C7CCEA-8174-CC41-9238-A0D3EA01F3F5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4845C9DD-5C7A-874F-8368-FFFC6465A6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591D277-AA9C-EC41-A110-AE8469C88B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21F144B7-C152-F244-9A00-75D92A833EF2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2599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8418BD92-84AF-4747-9337-9C8E4022A6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A740B27C-16E1-4746-A632-115AF5F043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1" y="0"/>
            <a:ext cx="11522075" cy="648017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/>
            </a:lvl1pPr>
          </a:lstStyle>
          <a:p>
            <a:endParaRPr lang="en-RU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34E81BE-004C-EA49-818C-F9E3C32F7F47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AC15F058-CF3B-5144-9FA3-CA10DA0FBBE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740A59D-9C0D-5849-B026-0D997150F0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0704588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EBDE60C4-C2B7-8C41-806E-0D5A5DEDAFCF}"/>
              </a:ext>
            </a:extLst>
          </p:cNvPr>
          <p:cNvSpPr>
            <a:spLocks noGrp="1"/>
          </p:cNvSpPr>
          <p:nvPr>
            <p:ph type="tbl" sz="quarter" idx="26" hasCustomPrompt="1"/>
          </p:nvPr>
        </p:nvSpPr>
        <p:spPr>
          <a:xfrm>
            <a:off x="360363" y="1187449"/>
            <a:ext cx="10801350" cy="4695825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>
                <a:solidFill>
                  <a:srgbClr val="19212C"/>
                </a:solidFill>
              </a:defRPr>
            </a:lvl1pPr>
          </a:lstStyle>
          <a:p>
            <a:r>
              <a:rPr lang="en-US" dirty="0"/>
              <a:t>Table</a:t>
            </a:r>
            <a:endParaRPr lang="en-RU"/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B12095EB-C6DC-DF45-A28C-47AC627362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A17BDF6-19DC-4641-BBD7-933EA5F23B01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410309C-CE1A-8746-B6F9-73B9768E4F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FA7D38F3-BC5B-DA45-AF45-B017008F9BDE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90590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BDA20B8B-578E-AE4B-ABDA-B36BB0CC5BA4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60363" y="1187454"/>
            <a:ext cx="10801350" cy="4695820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400">
                <a:solidFill>
                  <a:srgbClr val="7F8183"/>
                </a:solidFill>
              </a:defRPr>
            </a:lvl1pPr>
          </a:lstStyle>
          <a:p>
            <a:endParaRPr lang="en-R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9EA62CA-D0D2-094E-ABA2-DCC2F45F3120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481870C3-E2C3-1B41-92AD-2CF0644DEA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E135D83-F511-CC4E-9D94-E0B2E4F611E1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C64C08BD-A6CB-3142-A331-2D2C6916DE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743685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BDA20B8B-578E-AE4B-ABDA-B36BB0CC5BA4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60363" y="1194326"/>
            <a:ext cx="7164387" cy="4695823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/>
            </a:lvl1pPr>
          </a:lstStyle>
          <a:p>
            <a:endParaRPr lang="en-RU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9213" y="1208076"/>
            <a:ext cx="349250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en-RU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76088" y="2341224"/>
            <a:ext cx="3492500" cy="2807036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Text slide</a:t>
            </a:r>
            <a:endParaRPr lang="en-RU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6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Section title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4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8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RU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10071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474A4320-3C1A-114D-AA60-FA85EE7C27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70597" y="5561211"/>
            <a:ext cx="1994866" cy="848542"/>
          </a:xfrm>
          <a:prstGeom prst="rect">
            <a:avLst/>
          </a:prstGeom>
        </p:spPr>
        <p:txBody>
          <a:bodyPr lIns="180000" rIns="18000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Facebook.com</a:t>
            </a:r>
            <a:r>
              <a:rPr lang="en-US" dirty="0"/>
              <a:t>/</a:t>
            </a:r>
            <a:r>
              <a:rPr lang="en-US" dirty="0" err="1"/>
              <a:t>omk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instagram.com</a:t>
            </a:r>
            <a:r>
              <a:rPr lang="en-US" dirty="0"/>
              <a:t>/</a:t>
            </a:r>
            <a:r>
              <a:rPr lang="en-US" dirty="0" err="1"/>
              <a:t>oml.ru</a:t>
            </a:r>
            <a:endParaRPr lang="en-US" dirty="0"/>
          </a:p>
          <a:p>
            <a:pPr lvl="0"/>
            <a:r>
              <a:rPr lang="en-US" dirty="0"/>
              <a:t>@</a:t>
            </a:r>
            <a:r>
              <a:rPr lang="en-US" dirty="0" err="1"/>
              <a:t>vk.com</a:t>
            </a:r>
            <a:r>
              <a:rPr lang="en-US" dirty="0"/>
              <a:t>/</a:t>
            </a:r>
            <a:r>
              <a:rPr lang="en-US" dirty="0" err="1"/>
              <a:t>omk_official</a:t>
            </a:r>
            <a:endParaRPr lang="en-RU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8082DBEF-CBAD-B54A-A0D6-2705122AF9D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093973" y="2203618"/>
            <a:ext cx="7638318" cy="1110235"/>
          </a:xfrm>
          <a:prstGeom prst="rect">
            <a:avLst/>
          </a:prstGeom>
        </p:spPr>
        <p:txBody>
          <a:bodyPr anchor="b"/>
          <a:lstStyle>
            <a:lvl1pPr marL="0" indent="0">
              <a:buFontTx/>
              <a:buNone/>
              <a:defRPr sz="34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Спасибо за внимание!</a:t>
            </a:r>
            <a:endParaRPr lang="en-RU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B44C52D-F828-E147-91DD-C0937F7A31CE}"/>
              </a:ext>
            </a:extLst>
          </p:cNvPr>
          <p:cNvSpPr txBox="1"/>
          <p:nvPr userDrawn="1"/>
        </p:nvSpPr>
        <p:spPr>
          <a:xfrm>
            <a:off x="2113489" y="5456641"/>
            <a:ext cx="838150" cy="753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Телефон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чта</a:t>
            </a:r>
          </a:p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Сай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F26B54D-F66A-C344-AD13-EBD8F068DB36}"/>
              </a:ext>
            </a:extLst>
          </p:cNvPr>
          <p:cNvSpPr txBox="1"/>
          <p:nvPr userDrawn="1"/>
        </p:nvSpPr>
        <p:spPr>
          <a:xfrm>
            <a:off x="4827099" y="5511641"/>
            <a:ext cx="1089772" cy="2920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000" kern="1200" dirty="0">
                <a:solidFill>
                  <a:srgbClr val="E41910"/>
                </a:solidFill>
                <a:effectLst/>
                <a:latin typeface="+mn-lt"/>
                <a:ea typeface="+mn-ea"/>
                <a:cs typeface="+mn-cs"/>
              </a:rPr>
              <a:t>Подписаться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A8121F5-98F3-AC40-97DF-13F1C657C0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65464" y="5561211"/>
            <a:ext cx="3405378" cy="881083"/>
          </a:xfrm>
          <a:prstGeom prst="rect">
            <a:avLst/>
          </a:prstGeom>
        </p:spPr>
        <p:txBody>
          <a:bodyPr lIns="180000" rIns="180000" anchor="t"/>
          <a:lstStyle>
            <a:lvl1pPr marL="0" indent="0" algn="l">
              <a:lnSpc>
                <a:spcPct val="100000"/>
              </a:lnSpc>
              <a:buFontTx/>
              <a:buNone/>
              <a:defRPr sz="10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@</a:t>
            </a:r>
            <a:r>
              <a:rPr lang="en-US" dirty="0" err="1"/>
              <a:t>twitter.com</a:t>
            </a:r>
            <a:r>
              <a:rPr lang="en-US" dirty="0"/>
              <a:t>/</a:t>
            </a:r>
            <a:r>
              <a:rPr lang="en-US" dirty="0" err="1"/>
              <a:t>omkru</a:t>
            </a:r>
            <a:endParaRPr lang="en-US" dirty="0"/>
          </a:p>
          <a:p>
            <a:pPr lvl="0"/>
            <a:r>
              <a:rPr lang="en-US" dirty="0" err="1"/>
              <a:t>youtube.com</a:t>
            </a:r>
            <a:r>
              <a:rPr lang="en-US" dirty="0"/>
              <a:t>/user/</a:t>
            </a:r>
            <a:r>
              <a:rPr lang="en-US" dirty="0" err="1"/>
              <a:t>OMKPipeCompany</a:t>
            </a:r>
            <a:endParaRPr lang="en-RU" dirty="0"/>
          </a:p>
        </p:txBody>
      </p:sp>
      <p:grpSp>
        <p:nvGrpSpPr>
          <p:cNvPr id="15" name="Graphic 2">
            <a:extLst>
              <a:ext uri="{FF2B5EF4-FFF2-40B4-BE49-F238E27FC236}">
                <a16:creationId xmlns:a16="http://schemas.microsoft.com/office/drawing/2014/main" id="{40F11E44-1AF8-A041-B789-CADF7AA9753D}"/>
              </a:ext>
            </a:extLst>
          </p:cNvPr>
          <p:cNvGrpSpPr/>
          <p:nvPr userDrawn="1"/>
        </p:nvGrpSpPr>
        <p:grpSpPr>
          <a:xfrm>
            <a:off x="344949" y="2327053"/>
            <a:ext cx="792163" cy="841598"/>
            <a:chOff x="4522787" y="1925637"/>
            <a:chExt cx="2472690" cy="2627001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6D2B971-C16C-8F4A-B71D-1FCAFEF220DB}"/>
                </a:ext>
              </a:extLst>
            </p:cNvPr>
            <p:cNvSpPr/>
            <p:nvPr/>
          </p:nvSpPr>
          <p:spPr>
            <a:xfrm>
              <a:off x="4522787" y="1925637"/>
              <a:ext cx="2472690" cy="1641876"/>
            </a:xfrm>
            <a:custGeom>
              <a:avLst/>
              <a:gdLst>
                <a:gd name="connsiteX0" fmla="*/ 700088 w 2472690"/>
                <a:gd name="connsiteY0" fmla="*/ 820938 h 1641876"/>
                <a:gd name="connsiteX1" fmla="*/ 1235393 w 2472690"/>
                <a:gd name="connsiteY1" fmla="*/ 287566 h 1641876"/>
                <a:gd name="connsiteX2" fmla="*/ 1497330 w 2472690"/>
                <a:gd name="connsiteY2" fmla="*/ 355898 h 1641876"/>
                <a:gd name="connsiteX3" fmla="*/ 1497330 w 2472690"/>
                <a:gd name="connsiteY3" fmla="*/ 0 h 1641876"/>
                <a:gd name="connsiteX4" fmla="*/ 0 w 2472690"/>
                <a:gd name="connsiteY4" fmla="*/ 647260 h 1641876"/>
                <a:gd name="connsiteX5" fmla="*/ 0 w 2472690"/>
                <a:gd name="connsiteY5" fmla="*/ 1641876 h 1641876"/>
                <a:gd name="connsiteX6" fmla="*/ 914400 w 2472690"/>
                <a:gd name="connsiteY6" fmla="*/ 1247067 h 1641876"/>
                <a:gd name="connsiteX7" fmla="*/ 700088 w 2472690"/>
                <a:gd name="connsiteY7" fmla="*/ 820938 h 1641876"/>
                <a:gd name="connsiteX8" fmla="*/ 1558290 w 2472690"/>
                <a:gd name="connsiteY8" fmla="*/ 394810 h 1641876"/>
                <a:gd name="connsiteX9" fmla="*/ 1771650 w 2472690"/>
                <a:gd name="connsiteY9" fmla="*/ 820938 h 1641876"/>
                <a:gd name="connsiteX10" fmla="*/ 1236345 w 2472690"/>
                <a:gd name="connsiteY10" fmla="*/ 1354311 h 1641876"/>
                <a:gd name="connsiteX11" fmla="*/ 974408 w 2472690"/>
                <a:gd name="connsiteY11" fmla="*/ 1285978 h 1641876"/>
                <a:gd name="connsiteX12" fmla="*/ 974408 w 2472690"/>
                <a:gd name="connsiteY12" fmla="*/ 1641876 h 1641876"/>
                <a:gd name="connsiteX13" fmla="*/ 2472690 w 2472690"/>
                <a:gd name="connsiteY13" fmla="*/ 994616 h 1641876"/>
                <a:gd name="connsiteX14" fmla="*/ 2472690 w 2472690"/>
                <a:gd name="connsiteY14" fmla="*/ 0 h 1641876"/>
                <a:gd name="connsiteX15" fmla="*/ 1558290 w 2472690"/>
                <a:gd name="connsiteY15" fmla="*/ 394810 h 164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72690" h="1641876">
                  <a:moveTo>
                    <a:pt x="700088" y="820938"/>
                  </a:moveTo>
                  <a:cubicBezTo>
                    <a:pt x="700088" y="525780"/>
                    <a:pt x="940118" y="287566"/>
                    <a:pt x="1235393" y="287566"/>
                  </a:cubicBezTo>
                  <a:cubicBezTo>
                    <a:pt x="1330643" y="287566"/>
                    <a:pt x="1420178" y="312241"/>
                    <a:pt x="1497330" y="355898"/>
                  </a:cubicBezTo>
                  <a:lnTo>
                    <a:pt x="1497330" y="0"/>
                  </a:lnTo>
                  <a:lnTo>
                    <a:pt x="0" y="647260"/>
                  </a:lnTo>
                  <a:lnTo>
                    <a:pt x="0" y="1641876"/>
                  </a:lnTo>
                  <a:lnTo>
                    <a:pt x="914400" y="1247067"/>
                  </a:lnTo>
                  <a:cubicBezTo>
                    <a:pt x="784860" y="1150262"/>
                    <a:pt x="700088" y="995565"/>
                    <a:pt x="700088" y="820938"/>
                  </a:cubicBezTo>
                  <a:close/>
                  <a:moveTo>
                    <a:pt x="1558290" y="394810"/>
                  </a:moveTo>
                  <a:cubicBezTo>
                    <a:pt x="1687830" y="491614"/>
                    <a:pt x="1771650" y="647260"/>
                    <a:pt x="1771650" y="820938"/>
                  </a:cubicBezTo>
                  <a:cubicBezTo>
                    <a:pt x="1771650" y="1116096"/>
                    <a:pt x="1531620" y="1354311"/>
                    <a:pt x="1236345" y="1354311"/>
                  </a:cubicBezTo>
                  <a:cubicBezTo>
                    <a:pt x="1141095" y="1354311"/>
                    <a:pt x="1051560" y="1329635"/>
                    <a:pt x="974408" y="1285978"/>
                  </a:cubicBezTo>
                  <a:lnTo>
                    <a:pt x="974408" y="1641876"/>
                  </a:lnTo>
                  <a:lnTo>
                    <a:pt x="2472690" y="994616"/>
                  </a:lnTo>
                  <a:lnTo>
                    <a:pt x="2472690" y="0"/>
                  </a:lnTo>
                  <a:lnTo>
                    <a:pt x="1558290" y="394810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B9B177FA-B9C4-0348-9234-14014F48B60B}"/>
                </a:ext>
              </a:extLst>
            </p:cNvPr>
            <p:cNvSpPr/>
            <p:nvPr/>
          </p:nvSpPr>
          <p:spPr>
            <a:xfrm>
              <a:off x="5470524" y="2459009"/>
              <a:ext cx="577215" cy="575131"/>
            </a:xfrm>
            <a:custGeom>
              <a:avLst/>
              <a:gdLst>
                <a:gd name="connsiteX0" fmla="*/ 577215 w 577215"/>
                <a:gd name="connsiteY0" fmla="*/ 287566 h 575131"/>
                <a:gd name="connsiteX1" fmla="*/ 288608 w 577215"/>
                <a:gd name="connsiteY1" fmla="*/ 575131 h 575131"/>
                <a:gd name="connsiteX2" fmla="*/ 0 w 577215"/>
                <a:gd name="connsiteY2" fmla="*/ 287566 h 575131"/>
                <a:gd name="connsiteX3" fmla="*/ 288608 w 577215"/>
                <a:gd name="connsiteY3" fmla="*/ 0 h 575131"/>
                <a:gd name="connsiteX4" fmla="*/ 577215 w 577215"/>
                <a:gd name="connsiteY4" fmla="*/ 287566 h 575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7215" h="575131">
                  <a:moveTo>
                    <a:pt x="577215" y="287566"/>
                  </a:moveTo>
                  <a:cubicBezTo>
                    <a:pt x="577215" y="446059"/>
                    <a:pt x="447675" y="575131"/>
                    <a:pt x="288608" y="575131"/>
                  </a:cubicBezTo>
                  <a:cubicBezTo>
                    <a:pt x="129540" y="575131"/>
                    <a:pt x="0" y="446059"/>
                    <a:pt x="0" y="287566"/>
                  </a:cubicBezTo>
                  <a:cubicBezTo>
                    <a:pt x="0" y="129072"/>
                    <a:pt x="129540" y="0"/>
                    <a:pt x="288608" y="0"/>
                  </a:cubicBezTo>
                  <a:cubicBezTo>
                    <a:pt x="447675" y="0"/>
                    <a:pt x="577215" y="129072"/>
                    <a:pt x="577215" y="287566"/>
                  </a:cubicBezTo>
                  <a:close/>
                </a:path>
              </a:pathLst>
            </a:custGeom>
            <a:solidFill>
              <a:srgbClr val="E72B2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1CE2FDDC-7DE1-8441-9AD1-C61F46339ECA}"/>
                </a:ext>
              </a:extLst>
            </p:cNvPr>
            <p:cNvSpPr/>
            <p:nvPr/>
          </p:nvSpPr>
          <p:spPr>
            <a:xfrm>
              <a:off x="4522787" y="3863620"/>
              <a:ext cx="2472690" cy="689018"/>
            </a:xfrm>
            <a:custGeom>
              <a:avLst/>
              <a:gdLst>
                <a:gd name="connsiteX0" fmla="*/ 345758 w 2472690"/>
                <a:gd name="connsiteY0" fmla="*/ 0 h 689018"/>
                <a:gd name="connsiteX1" fmla="*/ 0 w 2472690"/>
                <a:gd name="connsiteY1" fmla="*/ 344509 h 689018"/>
                <a:gd name="connsiteX2" fmla="*/ 345758 w 2472690"/>
                <a:gd name="connsiteY2" fmla="*/ 689019 h 689018"/>
                <a:gd name="connsiteX3" fmla="*/ 691515 w 2472690"/>
                <a:gd name="connsiteY3" fmla="*/ 344509 h 689018"/>
                <a:gd name="connsiteX4" fmla="*/ 345758 w 2472690"/>
                <a:gd name="connsiteY4" fmla="*/ 0 h 689018"/>
                <a:gd name="connsiteX5" fmla="*/ 345758 w 2472690"/>
                <a:gd name="connsiteY5" fmla="*/ 525780 h 689018"/>
                <a:gd name="connsiteX6" fmla="*/ 164783 w 2472690"/>
                <a:gd name="connsiteY6" fmla="*/ 345458 h 689018"/>
                <a:gd name="connsiteX7" fmla="*/ 345758 w 2472690"/>
                <a:gd name="connsiteY7" fmla="*/ 165137 h 689018"/>
                <a:gd name="connsiteX8" fmla="*/ 526733 w 2472690"/>
                <a:gd name="connsiteY8" fmla="*/ 345458 h 689018"/>
                <a:gd name="connsiteX9" fmla="*/ 345758 w 2472690"/>
                <a:gd name="connsiteY9" fmla="*/ 525780 h 689018"/>
                <a:gd name="connsiteX10" fmla="*/ 1253490 w 2472690"/>
                <a:gd name="connsiteY10" fmla="*/ 284718 h 689018"/>
                <a:gd name="connsiteX11" fmla="*/ 1063943 w 2472690"/>
                <a:gd name="connsiteY11" fmla="*/ 17083 h 689018"/>
                <a:gd name="connsiteX12" fmla="*/ 899160 w 2472690"/>
                <a:gd name="connsiteY12" fmla="*/ 17083 h 689018"/>
                <a:gd name="connsiteX13" fmla="*/ 899160 w 2472690"/>
                <a:gd name="connsiteY13" fmla="*/ 673834 h 689018"/>
                <a:gd name="connsiteX14" fmla="*/ 1063943 w 2472690"/>
                <a:gd name="connsiteY14" fmla="*/ 673834 h 689018"/>
                <a:gd name="connsiteX15" fmla="*/ 1063943 w 2472690"/>
                <a:gd name="connsiteY15" fmla="*/ 301802 h 689018"/>
                <a:gd name="connsiteX16" fmla="*/ 1152525 w 2472690"/>
                <a:gd name="connsiteY16" fmla="*/ 427078 h 689018"/>
                <a:gd name="connsiteX17" fmla="*/ 1253490 w 2472690"/>
                <a:gd name="connsiteY17" fmla="*/ 569437 h 689018"/>
                <a:gd name="connsiteX18" fmla="*/ 1354455 w 2472690"/>
                <a:gd name="connsiteY18" fmla="*/ 427078 h 689018"/>
                <a:gd name="connsiteX19" fmla="*/ 1443038 w 2472690"/>
                <a:gd name="connsiteY19" fmla="*/ 301802 h 689018"/>
                <a:gd name="connsiteX20" fmla="*/ 1443038 w 2472690"/>
                <a:gd name="connsiteY20" fmla="*/ 673834 h 689018"/>
                <a:gd name="connsiteX21" fmla="*/ 1607820 w 2472690"/>
                <a:gd name="connsiteY21" fmla="*/ 673834 h 689018"/>
                <a:gd name="connsiteX22" fmla="*/ 1607820 w 2472690"/>
                <a:gd name="connsiteY22" fmla="*/ 17083 h 689018"/>
                <a:gd name="connsiteX23" fmla="*/ 1443038 w 2472690"/>
                <a:gd name="connsiteY23" fmla="*/ 17083 h 689018"/>
                <a:gd name="connsiteX24" fmla="*/ 1253490 w 2472690"/>
                <a:gd name="connsiteY24" fmla="*/ 284718 h 689018"/>
                <a:gd name="connsiteX25" fmla="*/ 2472690 w 2472690"/>
                <a:gd name="connsiteY25" fmla="*/ 18032 h 689018"/>
                <a:gd name="connsiteX26" fmla="*/ 2270760 w 2472690"/>
                <a:gd name="connsiteY26" fmla="*/ 18032 h 689018"/>
                <a:gd name="connsiteX27" fmla="*/ 2037398 w 2472690"/>
                <a:gd name="connsiteY27" fmla="*/ 336917 h 689018"/>
                <a:gd name="connsiteX28" fmla="*/ 2037398 w 2472690"/>
                <a:gd name="connsiteY28" fmla="*/ 18032 h 689018"/>
                <a:gd name="connsiteX29" fmla="*/ 1872615 w 2472690"/>
                <a:gd name="connsiteY29" fmla="*/ 18032 h 689018"/>
                <a:gd name="connsiteX30" fmla="*/ 1872615 w 2472690"/>
                <a:gd name="connsiteY30" fmla="*/ 674783 h 689018"/>
                <a:gd name="connsiteX31" fmla="*/ 2037398 w 2472690"/>
                <a:gd name="connsiteY31" fmla="*/ 674783 h 689018"/>
                <a:gd name="connsiteX32" fmla="*/ 2037398 w 2472690"/>
                <a:gd name="connsiteY32" fmla="*/ 354000 h 689018"/>
                <a:gd name="connsiteX33" fmla="*/ 2270760 w 2472690"/>
                <a:gd name="connsiteY33" fmla="*/ 674783 h 689018"/>
                <a:gd name="connsiteX34" fmla="*/ 2472690 w 2472690"/>
                <a:gd name="connsiteY34" fmla="*/ 674783 h 689018"/>
                <a:gd name="connsiteX35" fmla="*/ 2231708 w 2472690"/>
                <a:gd name="connsiteY35" fmla="*/ 346407 h 689018"/>
                <a:gd name="connsiteX36" fmla="*/ 2472690 w 2472690"/>
                <a:gd name="connsiteY36" fmla="*/ 18032 h 689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472690" h="689018">
                  <a:moveTo>
                    <a:pt x="345758" y="0"/>
                  </a:moveTo>
                  <a:cubicBezTo>
                    <a:pt x="155258" y="0"/>
                    <a:pt x="0" y="154697"/>
                    <a:pt x="0" y="344509"/>
                  </a:cubicBezTo>
                  <a:cubicBezTo>
                    <a:pt x="0" y="535271"/>
                    <a:pt x="155258" y="689019"/>
                    <a:pt x="345758" y="689019"/>
                  </a:cubicBezTo>
                  <a:cubicBezTo>
                    <a:pt x="537210" y="689019"/>
                    <a:pt x="691515" y="534322"/>
                    <a:pt x="691515" y="344509"/>
                  </a:cubicBezTo>
                  <a:cubicBezTo>
                    <a:pt x="692468" y="154697"/>
                    <a:pt x="537210" y="0"/>
                    <a:pt x="345758" y="0"/>
                  </a:cubicBezTo>
                  <a:close/>
                  <a:moveTo>
                    <a:pt x="345758" y="525780"/>
                  </a:moveTo>
                  <a:cubicBezTo>
                    <a:pt x="245745" y="525780"/>
                    <a:pt x="164783" y="445110"/>
                    <a:pt x="164783" y="345458"/>
                  </a:cubicBezTo>
                  <a:cubicBezTo>
                    <a:pt x="164783" y="245807"/>
                    <a:pt x="245745" y="165137"/>
                    <a:pt x="345758" y="165137"/>
                  </a:cubicBezTo>
                  <a:cubicBezTo>
                    <a:pt x="445770" y="165137"/>
                    <a:pt x="526733" y="245807"/>
                    <a:pt x="526733" y="345458"/>
                  </a:cubicBezTo>
                  <a:cubicBezTo>
                    <a:pt x="527685" y="444161"/>
                    <a:pt x="445770" y="525780"/>
                    <a:pt x="345758" y="525780"/>
                  </a:cubicBezTo>
                  <a:close/>
                  <a:moveTo>
                    <a:pt x="1253490" y="284718"/>
                  </a:moveTo>
                  <a:lnTo>
                    <a:pt x="1063943" y="17083"/>
                  </a:lnTo>
                  <a:lnTo>
                    <a:pt x="899160" y="17083"/>
                  </a:lnTo>
                  <a:lnTo>
                    <a:pt x="899160" y="673834"/>
                  </a:lnTo>
                  <a:lnTo>
                    <a:pt x="1063943" y="673834"/>
                  </a:lnTo>
                  <a:lnTo>
                    <a:pt x="1063943" y="301802"/>
                  </a:lnTo>
                  <a:lnTo>
                    <a:pt x="1152525" y="427078"/>
                  </a:lnTo>
                  <a:lnTo>
                    <a:pt x="1253490" y="569437"/>
                  </a:lnTo>
                  <a:lnTo>
                    <a:pt x="1354455" y="427078"/>
                  </a:lnTo>
                  <a:lnTo>
                    <a:pt x="1443038" y="301802"/>
                  </a:lnTo>
                  <a:lnTo>
                    <a:pt x="1443038" y="673834"/>
                  </a:lnTo>
                  <a:lnTo>
                    <a:pt x="1607820" y="673834"/>
                  </a:lnTo>
                  <a:lnTo>
                    <a:pt x="1607820" y="17083"/>
                  </a:lnTo>
                  <a:lnTo>
                    <a:pt x="1443038" y="17083"/>
                  </a:lnTo>
                  <a:lnTo>
                    <a:pt x="1253490" y="284718"/>
                  </a:lnTo>
                  <a:close/>
                  <a:moveTo>
                    <a:pt x="2472690" y="18032"/>
                  </a:moveTo>
                  <a:lnTo>
                    <a:pt x="2270760" y="18032"/>
                  </a:lnTo>
                  <a:lnTo>
                    <a:pt x="2037398" y="336917"/>
                  </a:lnTo>
                  <a:lnTo>
                    <a:pt x="2037398" y="18032"/>
                  </a:lnTo>
                  <a:lnTo>
                    <a:pt x="1872615" y="18032"/>
                  </a:lnTo>
                  <a:lnTo>
                    <a:pt x="1872615" y="674783"/>
                  </a:lnTo>
                  <a:lnTo>
                    <a:pt x="2037398" y="674783"/>
                  </a:lnTo>
                  <a:lnTo>
                    <a:pt x="2037398" y="354000"/>
                  </a:lnTo>
                  <a:lnTo>
                    <a:pt x="2270760" y="674783"/>
                  </a:lnTo>
                  <a:lnTo>
                    <a:pt x="2472690" y="674783"/>
                  </a:lnTo>
                  <a:lnTo>
                    <a:pt x="2231708" y="346407"/>
                  </a:lnTo>
                  <a:lnTo>
                    <a:pt x="2472690" y="18032"/>
                  </a:lnTo>
                  <a:close/>
                </a:path>
              </a:pathLst>
            </a:custGeom>
            <a:solidFill>
              <a:srgbClr val="7F818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grpSp>
        <p:nvGrpSpPr>
          <p:cNvPr id="22" name="Graphic 13">
            <a:extLst>
              <a:ext uri="{FF2B5EF4-FFF2-40B4-BE49-F238E27FC236}">
                <a16:creationId xmlns:a16="http://schemas.microsoft.com/office/drawing/2014/main" id="{AA443365-44DD-6049-B8C1-DC81D1B11A4E}"/>
              </a:ext>
            </a:extLst>
          </p:cNvPr>
          <p:cNvGrpSpPr/>
          <p:nvPr userDrawn="1"/>
        </p:nvGrpSpPr>
        <p:grpSpPr>
          <a:xfrm>
            <a:off x="322183" y="5445861"/>
            <a:ext cx="837693" cy="720718"/>
            <a:chOff x="1237542" y="5445861"/>
            <a:chExt cx="837693" cy="720718"/>
          </a:xfrm>
        </p:grpSpPr>
        <p:grpSp>
          <p:nvGrpSpPr>
            <p:cNvPr id="23" name="Graphic 13">
              <a:extLst>
                <a:ext uri="{FF2B5EF4-FFF2-40B4-BE49-F238E27FC236}">
                  <a16:creationId xmlns:a16="http://schemas.microsoft.com/office/drawing/2014/main" id="{5FBEBAB4-8198-0149-BC9E-EA85E807390A}"/>
                </a:ext>
              </a:extLst>
            </p:cNvPr>
            <p:cNvGrpSpPr/>
            <p:nvPr/>
          </p:nvGrpSpPr>
          <p:grpSpPr>
            <a:xfrm>
              <a:off x="1264054" y="5786435"/>
              <a:ext cx="327743" cy="106553"/>
              <a:chOff x="1264054" y="5786435"/>
              <a:chExt cx="327743" cy="106553"/>
            </a:xfrm>
            <a:solidFill>
              <a:srgbClr val="CFD4D9"/>
            </a:solidFill>
          </p:grpSpPr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53F6BECB-5E13-9A47-908B-D8DDA9F616AF}"/>
                  </a:ext>
                </a:extLst>
              </p:cNvPr>
              <p:cNvSpPr/>
              <p:nvPr/>
            </p:nvSpPr>
            <p:spPr>
              <a:xfrm>
                <a:off x="1264054" y="5786435"/>
                <a:ext cx="72205" cy="84225"/>
              </a:xfrm>
              <a:custGeom>
                <a:avLst/>
                <a:gdLst>
                  <a:gd name="connsiteX0" fmla="*/ 38077 w 72205"/>
                  <a:gd name="connsiteY0" fmla="*/ 74898 h 84225"/>
                  <a:gd name="connsiteX1" fmla="*/ 55000 w 72205"/>
                  <a:gd name="connsiteY1" fmla="*/ 69811 h 84225"/>
                  <a:gd name="connsiteX2" fmla="*/ 62615 w 72205"/>
                  <a:gd name="connsiteY2" fmla="*/ 55962 h 84225"/>
                  <a:gd name="connsiteX3" fmla="*/ 72205 w 72205"/>
                  <a:gd name="connsiteY3" fmla="*/ 57657 h 84225"/>
                  <a:gd name="connsiteX4" fmla="*/ 60923 w 72205"/>
                  <a:gd name="connsiteY4" fmla="*/ 77442 h 84225"/>
                  <a:gd name="connsiteX5" fmla="*/ 37795 w 72205"/>
                  <a:gd name="connsiteY5" fmla="*/ 84225 h 84225"/>
                  <a:gd name="connsiteX6" fmla="*/ 10154 w 72205"/>
                  <a:gd name="connsiteY6" fmla="*/ 72920 h 84225"/>
                  <a:gd name="connsiteX7" fmla="*/ 0 w 72205"/>
                  <a:gd name="connsiteY7" fmla="*/ 42113 h 84225"/>
                  <a:gd name="connsiteX8" fmla="*/ 2821 w 72205"/>
                  <a:gd name="connsiteY8" fmla="*/ 24307 h 84225"/>
                  <a:gd name="connsiteX9" fmla="*/ 10436 w 72205"/>
                  <a:gd name="connsiteY9" fmla="*/ 11023 h 84225"/>
                  <a:gd name="connsiteX10" fmla="*/ 22282 w 72205"/>
                  <a:gd name="connsiteY10" fmla="*/ 2826 h 84225"/>
                  <a:gd name="connsiteX11" fmla="*/ 37795 w 72205"/>
                  <a:gd name="connsiteY11" fmla="*/ 0 h 84225"/>
                  <a:gd name="connsiteX12" fmla="*/ 60923 w 72205"/>
                  <a:gd name="connsiteY12" fmla="*/ 6783 h 84225"/>
                  <a:gd name="connsiteX13" fmla="*/ 71923 w 72205"/>
                  <a:gd name="connsiteY13" fmla="*/ 26568 h 84225"/>
                  <a:gd name="connsiteX14" fmla="*/ 62333 w 72205"/>
                  <a:gd name="connsiteY14" fmla="*/ 28263 h 84225"/>
                  <a:gd name="connsiteX15" fmla="*/ 54718 w 72205"/>
                  <a:gd name="connsiteY15" fmla="*/ 14697 h 84225"/>
                  <a:gd name="connsiteX16" fmla="*/ 37795 w 72205"/>
                  <a:gd name="connsiteY16" fmla="*/ 9327 h 84225"/>
                  <a:gd name="connsiteX17" fmla="*/ 25667 w 72205"/>
                  <a:gd name="connsiteY17" fmla="*/ 11871 h 84225"/>
                  <a:gd name="connsiteX18" fmla="*/ 16923 w 72205"/>
                  <a:gd name="connsiteY18" fmla="*/ 18654 h 84225"/>
                  <a:gd name="connsiteX19" fmla="*/ 11564 w 72205"/>
                  <a:gd name="connsiteY19" fmla="*/ 29111 h 84225"/>
                  <a:gd name="connsiteX20" fmla="*/ 9872 w 72205"/>
                  <a:gd name="connsiteY20" fmla="*/ 42678 h 84225"/>
                  <a:gd name="connsiteX21" fmla="*/ 17205 w 72205"/>
                  <a:gd name="connsiteY21" fmla="*/ 66419 h 84225"/>
                  <a:gd name="connsiteX22" fmla="*/ 38077 w 72205"/>
                  <a:gd name="connsiteY22" fmla="*/ 74898 h 84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2205" h="84225">
                    <a:moveTo>
                      <a:pt x="38077" y="74898"/>
                    </a:moveTo>
                    <a:cubicBezTo>
                      <a:pt x="45410" y="74898"/>
                      <a:pt x="51051" y="73202"/>
                      <a:pt x="55000" y="69811"/>
                    </a:cubicBezTo>
                    <a:cubicBezTo>
                      <a:pt x="58949" y="66419"/>
                      <a:pt x="61487" y="61897"/>
                      <a:pt x="62615" y="55962"/>
                    </a:cubicBezTo>
                    <a:lnTo>
                      <a:pt x="72205" y="57657"/>
                    </a:lnTo>
                    <a:cubicBezTo>
                      <a:pt x="70795" y="66136"/>
                      <a:pt x="66846" y="72920"/>
                      <a:pt x="60923" y="77442"/>
                    </a:cubicBezTo>
                    <a:cubicBezTo>
                      <a:pt x="55000" y="81964"/>
                      <a:pt x="47385" y="84225"/>
                      <a:pt x="37795" y="84225"/>
                    </a:cubicBezTo>
                    <a:cubicBezTo>
                      <a:pt x="26231" y="84225"/>
                      <a:pt x="16923" y="80551"/>
                      <a:pt x="10154" y="72920"/>
                    </a:cubicBezTo>
                    <a:cubicBezTo>
                      <a:pt x="3385" y="65289"/>
                      <a:pt x="0" y="55114"/>
                      <a:pt x="0" y="42113"/>
                    </a:cubicBezTo>
                    <a:cubicBezTo>
                      <a:pt x="0" y="35329"/>
                      <a:pt x="846" y="29394"/>
                      <a:pt x="2821" y="24307"/>
                    </a:cubicBezTo>
                    <a:cubicBezTo>
                      <a:pt x="4513" y="18937"/>
                      <a:pt x="7333" y="14697"/>
                      <a:pt x="10436" y="11023"/>
                    </a:cubicBezTo>
                    <a:cubicBezTo>
                      <a:pt x="13821" y="7348"/>
                      <a:pt x="17769" y="4522"/>
                      <a:pt x="22282" y="2826"/>
                    </a:cubicBezTo>
                    <a:cubicBezTo>
                      <a:pt x="27077" y="848"/>
                      <a:pt x="32154" y="0"/>
                      <a:pt x="37795" y="0"/>
                    </a:cubicBezTo>
                    <a:cubicBezTo>
                      <a:pt x="47385" y="0"/>
                      <a:pt x="55000" y="2261"/>
                      <a:pt x="60923" y="6783"/>
                    </a:cubicBezTo>
                    <a:cubicBezTo>
                      <a:pt x="66846" y="11305"/>
                      <a:pt x="70513" y="18089"/>
                      <a:pt x="71923" y="26568"/>
                    </a:cubicBezTo>
                    <a:lnTo>
                      <a:pt x="62333" y="28263"/>
                    </a:lnTo>
                    <a:cubicBezTo>
                      <a:pt x="61205" y="22893"/>
                      <a:pt x="58667" y="18371"/>
                      <a:pt x="54718" y="14697"/>
                    </a:cubicBezTo>
                    <a:cubicBezTo>
                      <a:pt x="50769" y="11023"/>
                      <a:pt x="45128" y="9327"/>
                      <a:pt x="37795" y="9327"/>
                    </a:cubicBezTo>
                    <a:cubicBezTo>
                      <a:pt x="33282" y="9327"/>
                      <a:pt x="29333" y="10175"/>
                      <a:pt x="25667" y="11871"/>
                    </a:cubicBezTo>
                    <a:cubicBezTo>
                      <a:pt x="22282" y="13566"/>
                      <a:pt x="19180" y="15828"/>
                      <a:pt x="16923" y="18654"/>
                    </a:cubicBezTo>
                    <a:cubicBezTo>
                      <a:pt x="14667" y="21480"/>
                      <a:pt x="12974" y="24872"/>
                      <a:pt x="11564" y="29111"/>
                    </a:cubicBezTo>
                    <a:cubicBezTo>
                      <a:pt x="10436" y="33068"/>
                      <a:pt x="9872" y="37590"/>
                      <a:pt x="9872" y="42678"/>
                    </a:cubicBezTo>
                    <a:cubicBezTo>
                      <a:pt x="9872" y="52570"/>
                      <a:pt x="12410" y="60484"/>
                      <a:pt x="17205" y="66419"/>
                    </a:cubicBezTo>
                    <a:cubicBezTo>
                      <a:pt x="22282" y="72072"/>
                      <a:pt x="29051" y="74898"/>
                      <a:pt x="38077" y="74898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951EE360-1C01-BB42-9A9C-1A019F76AA81}"/>
                  </a:ext>
                </a:extLst>
              </p:cNvPr>
              <p:cNvSpPr/>
              <p:nvPr/>
            </p:nvSpPr>
            <p:spPr>
              <a:xfrm>
                <a:off x="1347542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769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538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16F6205D-01CB-4245-AF73-08FBC725C314}"/>
                  </a:ext>
                </a:extLst>
              </p:cNvPr>
              <p:cNvSpPr/>
              <p:nvPr/>
            </p:nvSpPr>
            <p:spPr>
              <a:xfrm>
                <a:off x="1416080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7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80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7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73E37A58-7A04-3D4C-B1C2-8DE0C7DC770C}"/>
                  </a:ext>
                </a:extLst>
              </p:cNvPr>
              <p:cNvSpPr/>
              <p:nvPr/>
            </p:nvSpPr>
            <p:spPr>
              <a:xfrm>
                <a:off x="1472208" y="5811307"/>
                <a:ext cx="51333" cy="59635"/>
              </a:xfrm>
              <a:custGeom>
                <a:avLst/>
                <a:gdLst>
                  <a:gd name="connsiteX0" fmla="*/ 26795 w 51333"/>
                  <a:gd name="connsiteY0" fmla="*/ 7914 h 59635"/>
                  <a:gd name="connsiteX1" fmla="*/ 15795 w 51333"/>
                  <a:gd name="connsiteY1" fmla="*/ 12153 h 59635"/>
                  <a:gd name="connsiteX2" fmla="*/ 10154 w 51333"/>
                  <a:gd name="connsiteY2" fmla="*/ 23176 h 59635"/>
                  <a:gd name="connsiteX3" fmla="*/ 42308 w 51333"/>
                  <a:gd name="connsiteY3" fmla="*/ 23176 h 59635"/>
                  <a:gd name="connsiteX4" fmla="*/ 38359 w 51333"/>
                  <a:gd name="connsiteY4" fmla="*/ 12153 h 59635"/>
                  <a:gd name="connsiteX5" fmla="*/ 26795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8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795" y="7914"/>
                    </a:moveTo>
                    <a:cubicBezTo>
                      <a:pt x="22282" y="7914"/>
                      <a:pt x="18615" y="9327"/>
                      <a:pt x="15795" y="12153"/>
                    </a:cubicBezTo>
                    <a:cubicBezTo>
                      <a:pt x="12692" y="14980"/>
                      <a:pt x="11000" y="18654"/>
                      <a:pt x="10154" y="23176"/>
                    </a:cubicBezTo>
                    <a:lnTo>
                      <a:pt x="42308" y="23176"/>
                    </a:lnTo>
                    <a:cubicBezTo>
                      <a:pt x="42026" y="18654"/>
                      <a:pt x="40615" y="14980"/>
                      <a:pt x="38359" y="12153"/>
                    </a:cubicBezTo>
                    <a:cubicBezTo>
                      <a:pt x="35256" y="9327"/>
                      <a:pt x="31590" y="7914"/>
                      <a:pt x="26795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8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A5FB3A17-DE30-EC46-85FD-34B2B2EB33B8}"/>
                  </a:ext>
                </a:extLst>
              </p:cNvPr>
              <p:cNvSpPr/>
              <p:nvPr/>
            </p:nvSpPr>
            <p:spPr>
              <a:xfrm>
                <a:off x="1537644" y="5810742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6218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8A57EE60-CECA-0745-A9C4-EE0F6B57CD75}"/>
                </a:ext>
              </a:extLst>
            </p:cNvPr>
            <p:cNvSpPr/>
            <p:nvPr/>
          </p:nvSpPr>
          <p:spPr>
            <a:xfrm>
              <a:off x="1606183" y="5812155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590 w 75307"/>
                <a:gd name="connsiteY4" fmla="*/ 0 h 57374"/>
                <a:gd name="connsiteX5" fmla="*/ 9590 w 75307"/>
                <a:gd name="connsiteY5" fmla="*/ 48613 h 57374"/>
                <a:gd name="connsiteX6" fmla="*/ 33000 w 75307"/>
                <a:gd name="connsiteY6" fmla="*/ 48613 h 57374"/>
                <a:gd name="connsiteX7" fmla="*/ 33000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590" y="0"/>
                  </a:lnTo>
                  <a:lnTo>
                    <a:pt x="9590" y="48613"/>
                  </a:lnTo>
                  <a:lnTo>
                    <a:pt x="33000" y="48613"/>
                  </a:lnTo>
                  <a:lnTo>
                    <a:pt x="33000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4C1D8118-E478-6F49-92CE-6359D0AC6C1A}"/>
                </a:ext>
              </a:extLst>
            </p:cNvPr>
            <p:cNvSpPr/>
            <p:nvPr/>
          </p:nvSpPr>
          <p:spPr>
            <a:xfrm>
              <a:off x="1695593" y="5811307"/>
              <a:ext cx="51615" cy="59635"/>
            </a:xfrm>
            <a:custGeom>
              <a:avLst/>
              <a:gdLst>
                <a:gd name="connsiteX0" fmla="*/ 26795 w 51615"/>
                <a:gd name="connsiteY0" fmla="*/ 7914 h 59635"/>
                <a:gd name="connsiteX1" fmla="*/ 15795 w 51615"/>
                <a:gd name="connsiteY1" fmla="*/ 12153 h 59635"/>
                <a:gd name="connsiteX2" fmla="*/ 10154 w 51615"/>
                <a:gd name="connsiteY2" fmla="*/ 23176 h 59635"/>
                <a:gd name="connsiteX3" fmla="*/ 42308 w 51615"/>
                <a:gd name="connsiteY3" fmla="*/ 23176 h 59635"/>
                <a:gd name="connsiteX4" fmla="*/ 38359 w 51615"/>
                <a:gd name="connsiteY4" fmla="*/ 12153 h 59635"/>
                <a:gd name="connsiteX5" fmla="*/ 26795 w 51615"/>
                <a:gd name="connsiteY5" fmla="*/ 7914 h 59635"/>
                <a:gd name="connsiteX6" fmla="*/ 51615 w 51615"/>
                <a:gd name="connsiteY6" fmla="*/ 31372 h 59635"/>
                <a:gd name="connsiteX7" fmla="*/ 9590 w 51615"/>
                <a:gd name="connsiteY7" fmla="*/ 31372 h 59635"/>
                <a:gd name="connsiteX8" fmla="*/ 14949 w 51615"/>
                <a:gd name="connsiteY8" fmla="*/ 46069 h 59635"/>
                <a:gd name="connsiteX9" fmla="*/ 27077 w 51615"/>
                <a:gd name="connsiteY9" fmla="*/ 51157 h 59635"/>
                <a:gd name="connsiteX10" fmla="*/ 37513 w 51615"/>
                <a:gd name="connsiteY10" fmla="*/ 48048 h 59635"/>
                <a:gd name="connsiteX11" fmla="*/ 42308 w 51615"/>
                <a:gd name="connsiteY11" fmla="*/ 40699 h 59635"/>
                <a:gd name="connsiteX12" fmla="*/ 51333 w 51615"/>
                <a:gd name="connsiteY12" fmla="*/ 42395 h 59635"/>
                <a:gd name="connsiteX13" fmla="*/ 42872 w 51615"/>
                <a:gd name="connsiteY13" fmla="*/ 55114 h 59635"/>
                <a:gd name="connsiteX14" fmla="*/ 26795 w 51615"/>
                <a:gd name="connsiteY14" fmla="*/ 59636 h 59635"/>
                <a:gd name="connsiteX15" fmla="*/ 7333 w 51615"/>
                <a:gd name="connsiteY15" fmla="*/ 51722 h 59635"/>
                <a:gd name="connsiteX16" fmla="*/ 0 w 51615"/>
                <a:gd name="connsiteY16" fmla="*/ 29677 h 59635"/>
                <a:gd name="connsiteX17" fmla="*/ 1974 w 51615"/>
                <a:gd name="connsiteY17" fmla="*/ 16958 h 59635"/>
                <a:gd name="connsiteX18" fmla="*/ 7615 w 51615"/>
                <a:gd name="connsiteY18" fmla="*/ 7631 h 59635"/>
                <a:gd name="connsiteX19" fmla="*/ 16077 w 51615"/>
                <a:gd name="connsiteY19" fmla="*/ 1978 h 59635"/>
                <a:gd name="connsiteX20" fmla="*/ 26513 w 51615"/>
                <a:gd name="connsiteY20" fmla="*/ 0 h 59635"/>
                <a:gd name="connsiteX21" fmla="*/ 44564 w 51615"/>
                <a:gd name="connsiteY21" fmla="*/ 7348 h 59635"/>
                <a:gd name="connsiteX22" fmla="*/ 51333 w 51615"/>
                <a:gd name="connsiteY22" fmla="*/ 27698 h 59635"/>
                <a:gd name="connsiteX23" fmla="*/ 51333 w 51615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615" h="59635">
                  <a:moveTo>
                    <a:pt x="26795" y="7914"/>
                  </a:moveTo>
                  <a:cubicBezTo>
                    <a:pt x="22282" y="7914"/>
                    <a:pt x="18615" y="9327"/>
                    <a:pt x="15795" y="12153"/>
                  </a:cubicBezTo>
                  <a:cubicBezTo>
                    <a:pt x="12692" y="14980"/>
                    <a:pt x="11000" y="18654"/>
                    <a:pt x="10154" y="23176"/>
                  </a:cubicBezTo>
                  <a:lnTo>
                    <a:pt x="42308" y="23176"/>
                  </a:lnTo>
                  <a:cubicBezTo>
                    <a:pt x="42026" y="18654"/>
                    <a:pt x="40615" y="14980"/>
                    <a:pt x="38359" y="12153"/>
                  </a:cubicBezTo>
                  <a:cubicBezTo>
                    <a:pt x="35539" y="9327"/>
                    <a:pt x="31590" y="7914"/>
                    <a:pt x="26795" y="7914"/>
                  </a:cubicBezTo>
                  <a:moveTo>
                    <a:pt x="51615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8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5B77BF7-A718-7F46-B83C-AF7018415C50}"/>
                </a:ext>
              </a:extLst>
            </p:cNvPr>
            <p:cNvSpPr/>
            <p:nvPr/>
          </p:nvSpPr>
          <p:spPr>
            <a:xfrm>
              <a:off x="1761029" y="5812155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6918E6DD-6E3E-8943-88BC-027320426CAB}"/>
                </a:ext>
              </a:extLst>
            </p:cNvPr>
            <p:cNvSpPr/>
            <p:nvPr/>
          </p:nvSpPr>
          <p:spPr>
            <a:xfrm>
              <a:off x="1825055" y="5810742"/>
              <a:ext cx="50769" cy="59918"/>
            </a:xfrm>
            <a:custGeom>
              <a:avLst/>
              <a:gdLst>
                <a:gd name="connsiteX0" fmla="*/ 41744 w 50769"/>
                <a:gd name="connsiteY0" fmla="*/ 40134 h 59918"/>
                <a:gd name="connsiteX1" fmla="*/ 50769 w 50769"/>
                <a:gd name="connsiteY1" fmla="*/ 41547 h 59918"/>
                <a:gd name="connsiteX2" fmla="*/ 43154 w 50769"/>
                <a:gd name="connsiteY2" fmla="*/ 54548 h 59918"/>
                <a:gd name="connsiteX3" fmla="*/ 26513 w 50769"/>
                <a:gd name="connsiteY3" fmla="*/ 59919 h 59918"/>
                <a:gd name="connsiteX4" fmla="*/ 7333 w 50769"/>
                <a:gd name="connsiteY4" fmla="*/ 52287 h 59918"/>
                <a:gd name="connsiteX5" fmla="*/ 0 w 50769"/>
                <a:gd name="connsiteY5" fmla="*/ 29959 h 59918"/>
                <a:gd name="connsiteX6" fmla="*/ 1974 w 50769"/>
                <a:gd name="connsiteY6" fmla="*/ 16675 h 59918"/>
                <a:gd name="connsiteX7" fmla="*/ 7615 w 50769"/>
                <a:gd name="connsiteY7" fmla="*/ 7348 h 59918"/>
                <a:gd name="connsiteX8" fmla="*/ 16077 w 50769"/>
                <a:gd name="connsiteY8" fmla="*/ 1696 h 59918"/>
                <a:gd name="connsiteX9" fmla="*/ 26513 w 50769"/>
                <a:gd name="connsiteY9" fmla="*/ 0 h 59918"/>
                <a:gd name="connsiteX10" fmla="*/ 43436 w 50769"/>
                <a:gd name="connsiteY10" fmla="*/ 5370 h 59918"/>
                <a:gd name="connsiteX11" fmla="*/ 50769 w 50769"/>
                <a:gd name="connsiteY11" fmla="*/ 18089 h 59918"/>
                <a:gd name="connsiteX12" fmla="*/ 42026 w 50769"/>
                <a:gd name="connsiteY12" fmla="*/ 19784 h 59918"/>
                <a:gd name="connsiteX13" fmla="*/ 37513 w 50769"/>
                <a:gd name="connsiteY13" fmla="*/ 12153 h 59918"/>
                <a:gd name="connsiteX14" fmla="*/ 26795 w 50769"/>
                <a:gd name="connsiteY14" fmla="*/ 8479 h 59918"/>
                <a:gd name="connsiteX15" fmla="*/ 14103 w 50769"/>
                <a:gd name="connsiteY15" fmla="*/ 14132 h 59918"/>
                <a:gd name="connsiteX16" fmla="*/ 9590 w 50769"/>
                <a:gd name="connsiteY16" fmla="*/ 29677 h 59918"/>
                <a:gd name="connsiteX17" fmla="*/ 14103 w 50769"/>
                <a:gd name="connsiteY17" fmla="*/ 45222 h 59918"/>
                <a:gd name="connsiteX18" fmla="*/ 26795 w 50769"/>
                <a:gd name="connsiteY18" fmla="*/ 51157 h 59918"/>
                <a:gd name="connsiteX19" fmla="*/ 37795 w 50769"/>
                <a:gd name="connsiteY19" fmla="*/ 47483 h 59918"/>
                <a:gd name="connsiteX20" fmla="*/ 41744 w 50769"/>
                <a:gd name="connsiteY20" fmla="*/ 40134 h 59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0769" h="59918">
                  <a:moveTo>
                    <a:pt x="41744" y="40134"/>
                  </a:moveTo>
                  <a:lnTo>
                    <a:pt x="50769" y="41547"/>
                  </a:lnTo>
                  <a:cubicBezTo>
                    <a:pt x="49641" y="46635"/>
                    <a:pt x="47103" y="51157"/>
                    <a:pt x="43154" y="54548"/>
                  </a:cubicBezTo>
                  <a:cubicBezTo>
                    <a:pt x="39205" y="58223"/>
                    <a:pt x="33564" y="59919"/>
                    <a:pt x="26513" y="59919"/>
                  </a:cubicBezTo>
                  <a:cubicBezTo>
                    <a:pt x="18615" y="59919"/>
                    <a:pt x="12128" y="57375"/>
                    <a:pt x="7333" y="52287"/>
                  </a:cubicBezTo>
                  <a:cubicBezTo>
                    <a:pt x="2538" y="47200"/>
                    <a:pt x="0" y="39851"/>
                    <a:pt x="0" y="29959"/>
                  </a:cubicBezTo>
                  <a:cubicBezTo>
                    <a:pt x="0" y="24872"/>
                    <a:pt x="564" y="20350"/>
                    <a:pt x="1974" y="16675"/>
                  </a:cubicBezTo>
                  <a:cubicBezTo>
                    <a:pt x="3385" y="13001"/>
                    <a:pt x="5359" y="9892"/>
                    <a:pt x="7615" y="7348"/>
                  </a:cubicBezTo>
                  <a:cubicBezTo>
                    <a:pt x="9872" y="4805"/>
                    <a:pt x="12692" y="3109"/>
                    <a:pt x="16077" y="1696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3846" y="0"/>
                    <a:pt x="39487" y="1696"/>
                    <a:pt x="43436" y="5370"/>
                  </a:cubicBezTo>
                  <a:cubicBezTo>
                    <a:pt x="47385" y="9044"/>
                    <a:pt x="49641" y="13284"/>
                    <a:pt x="50769" y="18089"/>
                  </a:cubicBezTo>
                  <a:lnTo>
                    <a:pt x="42026" y="19784"/>
                  </a:lnTo>
                  <a:cubicBezTo>
                    <a:pt x="41179" y="16958"/>
                    <a:pt x="39769" y="14414"/>
                    <a:pt x="37513" y="12153"/>
                  </a:cubicBezTo>
                  <a:cubicBezTo>
                    <a:pt x="35256" y="9892"/>
                    <a:pt x="31590" y="8479"/>
                    <a:pt x="26795" y="8479"/>
                  </a:cubicBezTo>
                  <a:cubicBezTo>
                    <a:pt x="21436" y="8479"/>
                    <a:pt x="17205" y="10457"/>
                    <a:pt x="14103" y="14132"/>
                  </a:cubicBezTo>
                  <a:cubicBezTo>
                    <a:pt x="11000" y="18089"/>
                    <a:pt x="9590" y="23176"/>
                    <a:pt x="9590" y="29677"/>
                  </a:cubicBezTo>
                  <a:cubicBezTo>
                    <a:pt x="9590" y="36177"/>
                    <a:pt x="11000" y="41265"/>
                    <a:pt x="14103" y="45222"/>
                  </a:cubicBezTo>
                  <a:cubicBezTo>
                    <a:pt x="16923" y="49178"/>
                    <a:pt x="21154" y="51157"/>
                    <a:pt x="26795" y="51157"/>
                  </a:cubicBezTo>
                  <a:cubicBezTo>
                    <a:pt x="31872" y="51157"/>
                    <a:pt x="35538" y="50026"/>
                    <a:pt x="37795" y="47483"/>
                  </a:cubicBezTo>
                  <a:cubicBezTo>
                    <a:pt x="39487" y="45504"/>
                    <a:pt x="40897" y="42960"/>
                    <a:pt x="41744" y="40134"/>
                  </a:cubicBezTo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645310B9-8CA4-C849-B2E3-16871DC771FC}"/>
                </a:ext>
              </a:extLst>
            </p:cNvPr>
            <p:cNvSpPr/>
            <p:nvPr/>
          </p:nvSpPr>
          <p:spPr>
            <a:xfrm>
              <a:off x="1882875" y="5812155"/>
              <a:ext cx="51333" cy="57374"/>
            </a:xfrm>
            <a:custGeom>
              <a:avLst/>
              <a:gdLst>
                <a:gd name="connsiteX0" fmla="*/ 0 w 51333"/>
                <a:gd name="connsiteY0" fmla="*/ 9044 h 57374"/>
                <a:gd name="connsiteX1" fmla="*/ 0 w 51333"/>
                <a:gd name="connsiteY1" fmla="*/ 0 h 57374"/>
                <a:gd name="connsiteX2" fmla="*/ 51333 w 51333"/>
                <a:gd name="connsiteY2" fmla="*/ 0 h 57374"/>
                <a:gd name="connsiteX3" fmla="*/ 51333 w 51333"/>
                <a:gd name="connsiteY3" fmla="*/ 9044 h 57374"/>
                <a:gd name="connsiteX4" fmla="*/ 30462 w 51333"/>
                <a:gd name="connsiteY4" fmla="*/ 9044 h 57374"/>
                <a:gd name="connsiteX5" fmla="*/ 30462 w 51333"/>
                <a:gd name="connsiteY5" fmla="*/ 57375 h 57374"/>
                <a:gd name="connsiteX6" fmla="*/ 20872 w 51333"/>
                <a:gd name="connsiteY6" fmla="*/ 57375 h 57374"/>
                <a:gd name="connsiteX7" fmla="*/ 20872 w 51333"/>
                <a:gd name="connsiteY7" fmla="*/ 9044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1333" h="57374">
                  <a:moveTo>
                    <a:pt x="0" y="9044"/>
                  </a:moveTo>
                  <a:lnTo>
                    <a:pt x="0" y="0"/>
                  </a:lnTo>
                  <a:lnTo>
                    <a:pt x="51333" y="0"/>
                  </a:lnTo>
                  <a:lnTo>
                    <a:pt x="51333" y="9044"/>
                  </a:lnTo>
                  <a:lnTo>
                    <a:pt x="30462" y="9044"/>
                  </a:lnTo>
                  <a:lnTo>
                    <a:pt x="30462" y="57375"/>
                  </a:lnTo>
                  <a:lnTo>
                    <a:pt x="20872" y="57375"/>
                  </a:lnTo>
                  <a:lnTo>
                    <a:pt x="20872" y="9044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1" name="Graphic 13">
              <a:extLst>
                <a:ext uri="{FF2B5EF4-FFF2-40B4-BE49-F238E27FC236}">
                  <a16:creationId xmlns:a16="http://schemas.microsoft.com/office/drawing/2014/main" id="{68D06D50-A541-C448-B5A3-276B64E2D4C1}"/>
                </a:ext>
              </a:extLst>
            </p:cNvPr>
            <p:cNvGrpSpPr/>
            <p:nvPr/>
          </p:nvGrpSpPr>
          <p:grpSpPr>
            <a:xfrm>
              <a:off x="1946055" y="5811024"/>
              <a:ext cx="110282" cy="59918"/>
              <a:chOff x="1946055" y="5811024"/>
              <a:chExt cx="110282" cy="59918"/>
            </a:xfrm>
            <a:solidFill>
              <a:srgbClr val="CFD4D9"/>
            </a:solidFill>
          </p:grpSpPr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07959E70-C873-A843-8416-EFC12CA91A5C}"/>
                  </a:ext>
                </a:extLst>
              </p:cNvPr>
              <p:cNvSpPr/>
              <p:nvPr/>
            </p:nvSpPr>
            <p:spPr>
              <a:xfrm>
                <a:off x="1946055" y="5812155"/>
                <a:ext cx="45410" cy="57657"/>
              </a:xfrm>
              <a:custGeom>
                <a:avLst/>
                <a:gdLst>
                  <a:gd name="connsiteX0" fmla="*/ 26231 w 45410"/>
                  <a:gd name="connsiteY0" fmla="*/ 32220 h 57657"/>
                  <a:gd name="connsiteX1" fmla="*/ 9308 w 45410"/>
                  <a:gd name="connsiteY1" fmla="*/ 32220 h 57657"/>
                  <a:gd name="connsiteX2" fmla="*/ 9308 w 45410"/>
                  <a:gd name="connsiteY2" fmla="*/ 49178 h 57657"/>
                  <a:gd name="connsiteX3" fmla="*/ 26231 w 45410"/>
                  <a:gd name="connsiteY3" fmla="*/ 49178 h 57657"/>
                  <a:gd name="connsiteX4" fmla="*/ 34128 w 45410"/>
                  <a:gd name="connsiteY4" fmla="*/ 46917 h 57657"/>
                  <a:gd name="connsiteX5" fmla="*/ 36385 w 45410"/>
                  <a:gd name="connsiteY5" fmla="*/ 40699 h 57657"/>
                  <a:gd name="connsiteX6" fmla="*/ 33846 w 45410"/>
                  <a:gd name="connsiteY6" fmla="*/ 34199 h 57657"/>
                  <a:gd name="connsiteX7" fmla="*/ 26231 w 45410"/>
                  <a:gd name="connsiteY7" fmla="*/ 32220 h 57657"/>
                  <a:gd name="connsiteX8" fmla="*/ 24538 w 45410"/>
                  <a:gd name="connsiteY8" fmla="*/ 8196 h 57657"/>
                  <a:gd name="connsiteX9" fmla="*/ 9308 w 45410"/>
                  <a:gd name="connsiteY9" fmla="*/ 8196 h 57657"/>
                  <a:gd name="connsiteX10" fmla="*/ 9308 w 45410"/>
                  <a:gd name="connsiteY10" fmla="*/ 24307 h 57657"/>
                  <a:gd name="connsiteX11" fmla="*/ 25385 w 45410"/>
                  <a:gd name="connsiteY11" fmla="*/ 24307 h 57657"/>
                  <a:gd name="connsiteX12" fmla="*/ 32436 w 45410"/>
                  <a:gd name="connsiteY12" fmla="*/ 22328 h 57657"/>
                  <a:gd name="connsiteX13" fmla="*/ 34692 w 45410"/>
                  <a:gd name="connsiteY13" fmla="*/ 16110 h 57657"/>
                  <a:gd name="connsiteX14" fmla="*/ 32436 w 45410"/>
                  <a:gd name="connsiteY14" fmla="*/ 9892 h 57657"/>
                  <a:gd name="connsiteX15" fmla="*/ 24538 w 45410"/>
                  <a:gd name="connsiteY15" fmla="*/ 8196 h 57657"/>
                  <a:gd name="connsiteX16" fmla="*/ 0 w 45410"/>
                  <a:gd name="connsiteY16" fmla="*/ 57375 h 57657"/>
                  <a:gd name="connsiteX17" fmla="*/ 0 w 45410"/>
                  <a:gd name="connsiteY17" fmla="*/ 0 h 57657"/>
                  <a:gd name="connsiteX18" fmla="*/ 24538 w 45410"/>
                  <a:gd name="connsiteY18" fmla="*/ 0 h 57657"/>
                  <a:gd name="connsiteX19" fmla="*/ 38923 w 45410"/>
                  <a:gd name="connsiteY19" fmla="*/ 3957 h 57657"/>
                  <a:gd name="connsiteX20" fmla="*/ 44000 w 45410"/>
                  <a:gd name="connsiteY20" fmla="*/ 15545 h 57657"/>
                  <a:gd name="connsiteX21" fmla="*/ 42308 w 45410"/>
                  <a:gd name="connsiteY21" fmla="*/ 22328 h 57657"/>
                  <a:gd name="connsiteX22" fmla="*/ 35821 w 45410"/>
                  <a:gd name="connsiteY22" fmla="*/ 27698 h 57657"/>
                  <a:gd name="connsiteX23" fmla="*/ 43154 w 45410"/>
                  <a:gd name="connsiteY23" fmla="*/ 32786 h 57657"/>
                  <a:gd name="connsiteX24" fmla="*/ 45410 w 45410"/>
                  <a:gd name="connsiteY24" fmla="*/ 41265 h 57657"/>
                  <a:gd name="connsiteX25" fmla="*/ 40898 w 45410"/>
                  <a:gd name="connsiteY25" fmla="*/ 53135 h 57657"/>
                  <a:gd name="connsiteX26" fmla="*/ 26231 w 45410"/>
                  <a:gd name="connsiteY26" fmla="*/ 57657 h 57657"/>
                  <a:gd name="connsiteX27" fmla="*/ 0 w 45410"/>
                  <a:gd name="connsiteY27" fmla="*/ 57657 h 576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45410" h="57657">
                    <a:moveTo>
                      <a:pt x="26231" y="32220"/>
                    </a:moveTo>
                    <a:lnTo>
                      <a:pt x="9308" y="32220"/>
                    </a:lnTo>
                    <a:lnTo>
                      <a:pt x="9308" y="49178"/>
                    </a:lnTo>
                    <a:lnTo>
                      <a:pt x="26231" y="49178"/>
                    </a:lnTo>
                    <a:cubicBezTo>
                      <a:pt x="29897" y="49178"/>
                      <a:pt x="32436" y="48330"/>
                      <a:pt x="34128" y="46917"/>
                    </a:cubicBezTo>
                    <a:cubicBezTo>
                      <a:pt x="35538" y="45504"/>
                      <a:pt x="36385" y="43526"/>
                      <a:pt x="36385" y="40699"/>
                    </a:cubicBezTo>
                    <a:cubicBezTo>
                      <a:pt x="36385" y="37590"/>
                      <a:pt x="35538" y="35612"/>
                      <a:pt x="33846" y="34199"/>
                    </a:cubicBezTo>
                    <a:cubicBezTo>
                      <a:pt x="32436" y="33068"/>
                      <a:pt x="29897" y="32220"/>
                      <a:pt x="26231" y="32220"/>
                    </a:cubicBezTo>
                    <a:moveTo>
                      <a:pt x="24538" y="8196"/>
                    </a:moveTo>
                    <a:lnTo>
                      <a:pt x="9308" y="8196"/>
                    </a:lnTo>
                    <a:lnTo>
                      <a:pt x="9308" y="24307"/>
                    </a:lnTo>
                    <a:lnTo>
                      <a:pt x="25385" y="24307"/>
                    </a:lnTo>
                    <a:cubicBezTo>
                      <a:pt x="28487" y="24307"/>
                      <a:pt x="31026" y="23741"/>
                      <a:pt x="32436" y="22328"/>
                    </a:cubicBezTo>
                    <a:cubicBezTo>
                      <a:pt x="34128" y="20915"/>
                      <a:pt x="34692" y="18937"/>
                      <a:pt x="34692" y="16110"/>
                    </a:cubicBezTo>
                    <a:cubicBezTo>
                      <a:pt x="34692" y="13284"/>
                      <a:pt x="33846" y="11305"/>
                      <a:pt x="32436" y="9892"/>
                    </a:cubicBezTo>
                    <a:cubicBezTo>
                      <a:pt x="31308" y="9044"/>
                      <a:pt x="28487" y="8196"/>
                      <a:pt x="24538" y="8196"/>
                    </a:cubicBezTo>
                    <a:moveTo>
                      <a:pt x="0" y="57375"/>
                    </a:moveTo>
                    <a:lnTo>
                      <a:pt x="0" y="0"/>
                    </a:lnTo>
                    <a:lnTo>
                      <a:pt x="24538" y="0"/>
                    </a:lnTo>
                    <a:cubicBezTo>
                      <a:pt x="30744" y="0"/>
                      <a:pt x="35538" y="1413"/>
                      <a:pt x="38923" y="3957"/>
                    </a:cubicBezTo>
                    <a:cubicBezTo>
                      <a:pt x="42308" y="6501"/>
                      <a:pt x="44000" y="10457"/>
                      <a:pt x="44000" y="15545"/>
                    </a:cubicBezTo>
                    <a:cubicBezTo>
                      <a:pt x="44000" y="17806"/>
                      <a:pt x="43436" y="20067"/>
                      <a:pt x="42308" y="22328"/>
                    </a:cubicBezTo>
                    <a:cubicBezTo>
                      <a:pt x="41179" y="24589"/>
                      <a:pt x="39205" y="26568"/>
                      <a:pt x="35821" y="27698"/>
                    </a:cubicBezTo>
                    <a:cubicBezTo>
                      <a:pt x="39205" y="28829"/>
                      <a:pt x="41744" y="30524"/>
                      <a:pt x="43154" y="32786"/>
                    </a:cubicBezTo>
                    <a:cubicBezTo>
                      <a:pt x="44564" y="35047"/>
                      <a:pt x="45410" y="37873"/>
                      <a:pt x="45410" y="41265"/>
                    </a:cubicBezTo>
                    <a:cubicBezTo>
                      <a:pt x="45410" y="46069"/>
                      <a:pt x="44000" y="50026"/>
                      <a:pt x="40898" y="53135"/>
                    </a:cubicBezTo>
                    <a:cubicBezTo>
                      <a:pt x="37795" y="55962"/>
                      <a:pt x="33000" y="57657"/>
                      <a:pt x="26231" y="57657"/>
                    </a:cubicBezTo>
                    <a:lnTo>
                      <a:pt x="0" y="5765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AEDA4857-1DEE-9942-8A97-47957F90C298}"/>
                  </a:ext>
                </a:extLst>
              </p:cNvPr>
              <p:cNvSpPr/>
              <p:nvPr/>
            </p:nvSpPr>
            <p:spPr>
              <a:xfrm>
                <a:off x="2002465" y="5811024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1718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764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79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462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E0F4E977-DC47-CD42-90E3-8E69C5C4F26F}"/>
                </a:ext>
              </a:extLst>
            </p:cNvPr>
            <p:cNvSpPr/>
            <p:nvPr/>
          </p:nvSpPr>
          <p:spPr>
            <a:xfrm>
              <a:off x="1266593" y="5935383"/>
              <a:ext cx="48230" cy="57374"/>
            </a:xfrm>
            <a:custGeom>
              <a:avLst/>
              <a:gdLst>
                <a:gd name="connsiteX0" fmla="*/ 0 w 48230"/>
                <a:gd name="connsiteY0" fmla="*/ 57375 h 57374"/>
                <a:gd name="connsiteX1" fmla="*/ 0 w 48230"/>
                <a:gd name="connsiteY1" fmla="*/ 0 h 57374"/>
                <a:gd name="connsiteX2" fmla="*/ 48231 w 48230"/>
                <a:gd name="connsiteY2" fmla="*/ 0 h 57374"/>
                <a:gd name="connsiteX3" fmla="*/ 48231 w 48230"/>
                <a:gd name="connsiteY3" fmla="*/ 57375 h 57374"/>
                <a:gd name="connsiteX4" fmla="*/ 38641 w 48230"/>
                <a:gd name="connsiteY4" fmla="*/ 57375 h 57374"/>
                <a:gd name="connsiteX5" fmla="*/ 38641 w 48230"/>
                <a:gd name="connsiteY5" fmla="*/ 9044 h 57374"/>
                <a:gd name="connsiteX6" fmla="*/ 9308 w 48230"/>
                <a:gd name="connsiteY6" fmla="*/ 9044 h 57374"/>
                <a:gd name="connsiteX7" fmla="*/ 9308 w 48230"/>
                <a:gd name="connsiteY7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230" h="57374">
                  <a:moveTo>
                    <a:pt x="0" y="57375"/>
                  </a:moveTo>
                  <a:lnTo>
                    <a:pt x="0" y="0"/>
                  </a:lnTo>
                  <a:lnTo>
                    <a:pt x="48231" y="0"/>
                  </a:lnTo>
                  <a:lnTo>
                    <a:pt x="48231" y="57375"/>
                  </a:lnTo>
                  <a:lnTo>
                    <a:pt x="38641" y="57375"/>
                  </a:lnTo>
                  <a:lnTo>
                    <a:pt x="38641" y="9044"/>
                  </a:lnTo>
                  <a:lnTo>
                    <a:pt x="9308" y="9044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33" name="Graphic 13">
              <a:extLst>
                <a:ext uri="{FF2B5EF4-FFF2-40B4-BE49-F238E27FC236}">
                  <a16:creationId xmlns:a16="http://schemas.microsoft.com/office/drawing/2014/main" id="{AFB85BBB-793A-B74B-8260-45E6030D7FD9}"/>
                </a:ext>
              </a:extLst>
            </p:cNvPr>
            <p:cNvGrpSpPr/>
            <p:nvPr/>
          </p:nvGrpSpPr>
          <p:grpSpPr>
            <a:xfrm>
              <a:off x="1332593" y="5933970"/>
              <a:ext cx="245948" cy="82246"/>
              <a:chOff x="1332593" y="5933970"/>
              <a:chExt cx="245948" cy="82246"/>
            </a:xfrm>
            <a:solidFill>
              <a:srgbClr val="CFD4D9"/>
            </a:solidFill>
          </p:grpSpPr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45005C72-3836-864B-AF7B-93A10AAB71EC}"/>
                  </a:ext>
                </a:extLst>
              </p:cNvPr>
              <p:cNvSpPr/>
              <p:nvPr/>
            </p:nvSpPr>
            <p:spPr>
              <a:xfrm>
                <a:off x="1332593" y="5933970"/>
                <a:ext cx="54153" cy="82246"/>
              </a:xfrm>
              <a:custGeom>
                <a:avLst/>
                <a:gdLst>
                  <a:gd name="connsiteX0" fmla="*/ 9590 w 54153"/>
                  <a:gd name="connsiteY0" fmla="*/ 34764 h 82246"/>
                  <a:gd name="connsiteX1" fmla="*/ 14949 w 54153"/>
                  <a:gd name="connsiteY1" fmla="*/ 46917 h 82246"/>
                  <a:gd name="connsiteX2" fmla="*/ 27641 w 54153"/>
                  <a:gd name="connsiteY2" fmla="*/ 51439 h 82246"/>
                  <a:gd name="connsiteX3" fmla="*/ 40051 w 54153"/>
                  <a:gd name="connsiteY3" fmla="*/ 45504 h 82246"/>
                  <a:gd name="connsiteX4" fmla="*/ 44564 w 54153"/>
                  <a:gd name="connsiteY4" fmla="*/ 29677 h 82246"/>
                  <a:gd name="connsiteX5" fmla="*/ 40051 w 54153"/>
                  <a:gd name="connsiteY5" fmla="*/ 14414 h 82246"/>
                  <a:gd name="connsiteX6" fmla="*/ 27359 w 54153"/>
                  <a:gd name="connsiteY6" fmla="*/ 8479 h 82246"/>
                  <a:gd name="connsiteX7" fmla="*/ 20872 w 54153"/>
                  <a:gd name="connsiteY7" fmla="*/ 9610 h 82246"/>
                  <a:gd name="connsiteX8" fmla="*/ 15231 w 54153"/>
                  <a:gd name="connsiteY8" fmla="*/ 13284 h 82246"/>
                  <a:gd name="connsiteX9" fmla="*/ 11282 w 54153"/>
                  <a:gd name="connsiteY9" fmla="*/ 19219 h 82246"/>
                  <a:gd name="connsiteX10" fmla="*/ 9872 w 54153"/>
                  <a:gd name="connsiteY10" fmla="*/ 27416 h 82246"/>
                  <a:gd name="connsiteX11" fmla="*/ 9872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590" y="34764"/>
                    </a:moveTo>
                    <a:cubicBezTo>
                      <a:pt x="9590" y="40134"/>
                      <a:pt x="11282" y="44091"/>
                      <a:pt x="14949" y="46917"/>
                    </a:cubicBezTo>
                    <a:cubicBezTo>
                      <a:pt x="18615" y="49744"/>
                      <a:pt x="22846" y="51439"/>
                      <a:pt x="27641" y="51439"/>
                    </a:cubicBezTo>
                    <a:cubicBezTo>
                      <a:pt x="33000" y="51439"/>
                      <a:pt x="36949" y="49461"/>
                      <a:pt x="40051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3459"/>
                      <a:pt x="43154" y="18371"/>
                      <a:pt x="40051" y="14414"/>
                    </a:cubicBezTo>
                    <a:cubicBezTo>
                      <a:pt x="36949" y="10457"/>
                      <a:pt x="32718" y="8479"/>
                      <a:pt x="27359" y="8479"/>
                    </a:cubicBezTo>
                    <a:cubicBezTo>
                      <a:pt x="25103" y="8479"/>
                      <a:pt x="22846" y="8762"/>
                      <a:pt x="20872" y="9610"/>
                    </a:cubicBezTo>
                    <a:cubicBezTo>
                      <a:pt x="18897" y="10457"/>
                      <a:pt x="16923" y="11588"/>
                      <a:pt x="15231" y="13284"/>
                    </a:cubicBezTo>
                    <a:cubicBezTo>
                      <a:pt x="13538" y="14980"/>
                      <a:pt x="12128" y="16958"/>
                      <a:pt x="11282" y="19219"/>
                    </a:cubicBezTo>
                    <a:cubicBezTo>
                      <a:pt x="10154" y="21763"/>
                      <a:pt x="9872" y="24307"/>
                      <a:pt x="9872" y="27416"/>
                    </a:cubicBezTo>
                    <a:lnTo>
                      <a:pt x="9872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A2D3332B-B7D8-9C48-9592-EC48FF7DA69E}"/>
                  </a:ext>
                </a:extLst>
              </p:cNvPr>
              <p:cNvSpPr/>
              <p:nvPr/>
            </p:nvSpPr>
            <p:spPr>
              <a:xfrm>
                <a:off x="1397747" y="5934253"/>
                <a:ext cx="53871" cy="59918"/>
              </a:xfrm>
              <a:custGeom>
                <a:avLst/>
                <a:gdLst>
                  <a:gd name="connsiteX0" fmla="*/ 27359 w 53871"/>
                  <a:gd name="connsiteY0" fmla="*/ 51157 h 59918"/>
                  <a:gd name="connsiteX1" fmla="*/ 40333 w 53871"/>
                  <a:gd name="connsiteY1" fmla="*/ 45504 h 59918"/>
                  <a:gd name="connsiteX2" fmla="*/ 44564 w 53871"/>
                  <a:gd name="connsiteY2" fmla="*/ 29677 h 59918"/>
                  <a:gd name="connsiteX3" fmla="*/ 40333 w 53871"/>
                  <a:gd name="connsiteY3" fmla="*/ 13849 h 59918"/>
                  <a:gd name="connsiteX4" fmla="*/ 27359 w 53871"/>
                  <a:gd name="connsiteY4" fmla="*/ 8196 h 59918"/>
                  <a:gd name="connsiteX5" fmla="*/ 14385 w 53871"/>
                  <a:gd name="connsiteY5" fmla="*/ 13849 h 59918"/>
                  <a:gd name="connsiteX6" fmla="*/ 9872 w 53871"/>
                  <a:gd name="connsiteY6" fmla="*/ 29677 h 59918"/>
                  <a:gd name="connsiteX7" fmla="*/ 14667 w 53871"/>
                  <a:gd name="connsiteY7" fmla="*/ 45504 h 59918"/>
                  <a:gd name="connsiteX8" fmla="*/ 27359 w 53871"/>
                  <a:gd name="connsiteY8" fmla="*/ 51157 h 59918"/>
                  <a:gd name="connsiteX9" fmla="*/ 27359 w 53871"/>
                  <a:gd name="connsiteY9" fmla="*/ 59919 h 59918"/>
                  <a:gd name="connsiteX10" fmla="*/ 16359 w 53871"/>
                  <a:gd name="connsiteY10" fmla="*/ 57940 h 59918"/>
                  <a:gd name="connsiteX11" fmla="*/ 7615 w 53871"/>
                  <a:gd name="connsiteY11" fmla="*/ 52287 h 59918"/>
                  <a:gd name="connsiteX12" fmla="*/ 1974 w 53871"/>
                  <a:gd name="connsiteY12" fmla="*/ 42678 h 59918"/>
                  <a:gd name="connsiteX13" fmla="*/ 0 w 53871"/>
                  <a:gd name="connsiteY13" fmla="*/ 29959 h 59918"/>
                  <a:gd name="connsiteX14" fmla="*/ 7615 w 53871"/>
                  <a:gd name="connsiteY14" fmla="*/ 7914 h 59918"/>
                  <a:gd name="connsiteX15" fmla="*/ 27359 w 53871"/>
                  <a:gd name="connsiteY15" fmla="*/ 0 h 59918"/>
                  <a:gd name="connsiteX16" fmla="*/ 46539 w 53871"/>
                  <a:gd name="connsiteY16" fmla="*/ 7914 h 59918"/>
                  <a:gd name="connsiteX17" fmla="*/ 53872 w 53871"/>
                  <a:gd name="connsiteY17" fmla="*/ 29959 h 59918"/>
                  <a:gd name="connsiteX18" fmla="*/ 46539 w 53871"/>
                  <a:gd name="connsiteY18" fmla="*/ 52005 h 59918"/>
                  <a:gd name="connsiteX19" fmla="*/ 27359 w 53871"/>
                  <a:gd name="connsiteY19" fmla="*/ 59919 h 599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53871" h="59918">
                    <a:moveTo>
                      <a:pt x="27359" y="51157"/>
                    </a:moveTo>
                    <a:cubicBezTo>
                      <a:pt x="33000" y="51157"/>
                      <a:pt x="37231" y="49178"/>
                      <a:pt x="40333" y="45504"/>
                    </a:cubicBezTo>
                    <a:cubicBezTo>
                      <a:pt x="43154" y="41547"/>
                      <a:pt x="44564" y="36460"/>
                      <a:pt x="44564" y="29677"/>
                    </a:cubicBezTo>
                    <a:cubicBezTo>
                      <a:pt x="44564" y="22893"/>
                      <a:pt x="43154" y="17806"/>
                      <a:pt x="40333" y="13849"/>
                    </a:cubicBezTo>
                    <a:cubicBezTo>
                      <a:pt x="37513" y="10175"/>
                      <a:pt x="33282" y="8196"/>
                      <a:pt x="27359" y="8196"/>
                    </a:cubicBezTo>
                    <a:cubicBezTo>
                      <a:pt x="21718" y="8196"/>
                      <a:pt x="17487" y="10175"/>
                      <a:pt x="14385" y="13849"/>
                    </a:cubicBezTo>
                    <a:cubicBezTo>
                      <a:pt x="11282" y="17523"/>
                      <a:pt x="9872" y="22893"/>
                      <a:pt x="9872" y="29677"/>
                    </a:cubicBezTo>
                    <a:cubicBezTo>
                      <a:pt x="9872" y="36460"/>
                      <a:pt x="11564" y="41547"/>
                      <a:pt x="14667" y="45504"/>
                    </a:cubicBezTo>
                    <a:cubicBezTo>
                      <a:pt x="17487" y="49461"/>
                      <a:pt x="22000" y="51157"/>
                      <a:pt x="27359" y="51157"/>
                    </a:cubicBezTo>
                    <a:moveTo>
                      <a:pt x="27359" y="59919"/>
                    </a:moveTo>
                    <a:cubicBezTo>
                      <a:pt x="23410" y="59919"/>
                      <a:pt x="19744" y="59353"/>
                      <a:pt x="16359" y="57940"/>
                    </a:cubicBezTo>
                    <a:cubicBezTo>
                      <a:pt x="12974" y="56527"/>
                      <a:pt x="10154" y="54548"/>
                      <a:pt x="7615" y="52287"/>
                    </a:cubicBezTo>
                    <a:cubicBezTo>
                      <a:pt x="5359" y="49744"/>
                      <a:pt x="3385" y="46635"/>
                      <a:pt x="1974" y="42678"/>
                    </a:cubicBezTo>
                    <a:cubicBezTo>
                      <a:pt x="564" y="39004"/>
                      <a:pt x="0" y="34481"/>
                      <a:pt x="0" y="29959"/>
                    </a:cubicBezTo>
                    <a:cubicBezTo>
                      <a:pt x="0" y="20350"/>
                      <a:pt x="2538" y="13001"/>
                      <a:pt x="7615" y="7914"/>
                    </a:cubicBezTo>
                    <a:cubicBezTo>
                      <a:pt x="12692" y="2826"/>
                      <a:pt x="19180" y="0"/>
                      <a:pt x="27359" y="0"/>
                    </a:cubicBezTo>
                    <a:cubicBezTo>
                      <a:pt x="35256" y="0"/>
                      <a:pt x="41744" y="2544"/>
                      <a:pt x="46539" y="7914"/>
                    </a:cubicBezTo>
                    <a:cubicBezTo>
                      <a:pt x="51333" y="13001"/>
                      <a:pt x="53872" y="20350"/>
                      <a:pt x="53872" y="29959"/>
                    </a:cubicBezTo>
                    <a:cubicBezTo>
                      <a:pt x="53872" y="39286"/>
                      <a:pt x="51333" y="46635"/>
                      <a:pt x="46539" y="52005"/>
                    </a:cubicBezTo>
                    <a:cubicBezTo>
                      <a:pt x="41744" y="57092"/>
                      <a:pt x="35256" y="59919"/>
                      <a:pt x="27359" y="59919"/>
                    </a:cubicBezTo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210E65D4-A347-5048-AABF-494A7E316FDF}"/>
                  </a:ext>
                </a:extLst>
              </p:cNvPr>
              <p:cNvSpPr/>
              <p:nvPr/>
            </p:nvSpPr>
            <p:spPr>
              <a:xfrm>
                <a:off x="1456696" y="5935383"/>
                <a:ext cx="63461" cy="73767"/>
              </a:xfrm>
              <a:custGeom>
                <a:avLst/>
                <a:gdLst>
                  <a:gd name="connsiteX0" fmla="*/ 22282 w 63461"/>
                  <a:gd name="connsiteY0" fmla="*/ 33068 h 73767"/>
                  <a:gd name="connsiteX1" fmla="*/ 20308 w 63461"/>
                  <a:gd name="connsiteY1" fmla="*/ 41830 h 73767"/>
                  <a:gd name="connsiteX2" fmla="*/ 16923 w 63461"/>
                  <a:gd name="connsiteY2" fmla="*/ 48331 h 73767"/>
                  <a:gd name="connsiteX3" fmla="*/ 44846 w 63461"/>
                  <a:gd name="connsiteY3" fmla="*/ 48331 h 73767"/>
                  <a:gd name="connsiteX4" fmla="*/ 44846 w 63461"/>
                  <a:gd name="connsiteY4" fmla="*/ 8762 h 73767"/>
                  <a:gd name="connsiteX5" fmla="*/ 23128 w 63461"/>
                  <a:gd name="connsiteY5" fmla="*/ 8762 h 73767"/>
                  <a:gd name="connsiteX6" fmla="*/ 23128 w 63461"/>
                  <a:gd name="connsiteY6" fmla="*/ 23176 h 73767"/>
                  <a:gd name="connsiteX7" fmla="*/ 22282 w 63461"/>
                  <a:gd name="connsiteY7" fmla="*/ 33068 h 73767"/>
                  <a:gd name="connsiteX8" fmla="*/ 0 w 63461"/>
                  <a:gd name="connsiteY8" fmla="*/ 48613 h 73767"/>
                  <a:gd name="connsiteX9" fmla="*/ 5923 w 63461"/>
                  <a:gd name="connsiteY9" fmla="*/ 48613 h 73767"/>
                  <a:gd name="connsiteX10" fmla="*/ 11000 w 63461"/>
                  <a:gd name="connsiteY10" fmla="*/ 41547 h 73767"/>
                  <a:gd name="connsiteX11" fmla="*/ 13256 w 63461"/>
                  <a:gd name="connsiteY11" fmla="*/ 31938 h 73767"/>
                  <a:gd name="connsiteX12" fmla="*/ 13538 w 63461"/>
                  <a:gd name="connsiteY12" fmla="*/ 27416 h 73767"/>
                  <a:gd name="connsiteX13" fmla="*/ 13821 w 63461"/>
                  <a:gd name="connsiteY13" fmla="*/ 21198 h 73767"/>
                  <a:gd name="connsiteX14" fmla="*/ 13821 w 63461"/>
                  <a:gd name="connsiteY14" fmla="*/ 12436 h 73767"/>
                  <a:gd name="connsiteX15" fmla="*/ 13821 w 63461"/>
                  <a:gd name="connsiteY15" fmla="*/ 0 h 73767"/>
                  <a:gd name="connsiteX16" fmla="*/ 54154 w 63461"/>
                  <a:gd name="connsiteY16" fmla="*/ 0 h 73767"/>
                  <a:gd name="connsiteX17" fmla="*/ 54154 w 63461"/>
                  <a:gd name="connsiteY17" fmla="*/ 48613 h 73767"/>
                  <a:gd name="connsiteX18" fmla="*/ 63462 w 63461"/>
                  <a:gd name="connsiteY18" fmla="*/ 48613 h 73767"/>
                  <a:gd name="connsiteX19" fmla="*/ 63462 w 63461"/>
                  <a:gd name="connsiteY19" fmla="*/ 73768 h 73767"/>
                  <a:gd name="connsiteX20" fmla="*/ 54154 w 63461"/>
                  <a:gd name="connsiteY20" fmla="*/ 73768 h 73767"/>
                  <a:gd name="connsiteX21" fmla="*/ 54154 w 63461"/>
                  <a:gd name="connsiteY21" fmla="*/ 57657 h 73767"/>
                  <a:gd name="connsiteX22" fmla="*/ 9308 w 63461"/>
                  <a:gd name="connsiteY22" fmla="*/ 57657 h 73767"/>
                  <a:gd name="connsiteX23" fmla="*/ 9308 w 63461"/>
                  <a:gd name="connsiteY23" fmla="*/ 73768 h 73767"/>
                  <a:gd name="connsiteX24" fmla="*/ 0 w 63461"/>
                  <a:gd name="connsiteY24" fmla="*/ 73768 h 73767"/>
                  <a:gd name="connsiteX25" fmla="*/ 0 w 63461"/>
                  <a:gd name="connsiteY25" fmla="*/ 48613 h 73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63461" h="73767">
                    <a:moveTo>
                      <a:pt x="22282" y="33068"/>
                    </a:moveTo>
                    <a:cubicBezTo>
                      <a:pt x="22000" y="36460"/>
                      <a:pt x="21154" y="39286"/>
                      <a:pt x="20308" y="41830"/>
                    </a:cubicBezTo>
                    <a:cubicBezTo>
                      <a:pt x="19180" y="44374"/>
                      <a:pt x="18051" y="46635"/>
                      <a:pt x="16923" y="48331"/>
                    </a:cubicBezTo>
                    <a:lnTo>
                      <a:pt x="44846" y="48331"/>
                    </a:lnTo>
                    <a:lnTo>
                      <a:pt x="44846" y="8762"/>
                    </a:lnTo>
                    <a:lnTo>
                      <a:pt x="23128" y="8762"/>
                    </a:lnTo>
                    <a:cubicBezTo>
                      <a:pt x="23128" y="14414"/>
                      <a:pt x="23128" y="19219"/>
                      <a:pt x="23128" y="23176"/>
                    </a:cubicBezTo>
                    <a:cubicBezTo>
                      <a:pt x="22564" y="27698"/>
                      <a:pt x="22564" y="30807"/>
                      <a:pt x="22282" y="33068"/>
                    </a:cubicBezTo>
                    <a:moveTo>
                      <a:pt x="0" y="48613"/>
                    </a:moveTo>
                    <a:lnTo>
                      <a:pt x="5923" y="48613"/>
                    </a:lnTo>
                    <a:cubicBezTo>
                      <a:pt x="7897" y="46917"/>
                      <a:pt x="9590" y="44656"/>
                      <a:pt x="11000" y="41547"/>
                    </a:cubicBezTo>
                    <a:cubicBezTo>
                      <a:pt x="12410" y="38438"/>
                      <a:pt x="13256" y="35329"/>
                      <a:pt x="13256" y="31938"/>
                    </a:cubicBezTo>
                    <a:cubicBezTo>
                      <a:pt x="13256" y="30525"/>
                      <a:pt x="13538" y="29111"/>
                      <a:pt x="13538" y="27416"/>
                    </a:cubicBezTo>
                    <a:cubicBezTo>
                      <a:pt x="13538" y="25720"/>
                      <a:pt x="13538" y="23741"/>
                      <a:pt x="13821" y="21198"/>
                    </a:cubicBezTo>
                    <a:cubicBezTo>
                      <a:pt x="13821" y="18654"/>
                      <a:pt x="13821" y="15828"/>
                      <a:pt x="13821" y="12436"/>
                    </a:cubicBezTo>
                    <a:cubicBezTo>
                      <a:pt x="13821" y="9044"/>
                      <a:pt x="13821" y="4805"/>
                      <a:pt x="13821" y="0"/>
                    </a:cubicBezTo>
                    <a:lnTo>
                      <a:pt x="54154" y="0"/>
                    </a:lnTo>
                    <a:lnTo>
                      <a:pt x="54154" y="48613"/>
                    </a:lnTo>
                    <a:lnTo>
                      <a:pt x="63462" y="48613"/>
                    </a:lnTo>
                    <a:lnTo>
                      <a:pt x="63462" y="73768"/>
                    </a:lnTo>
                    <a:lnTo>
                      <a:pt x="54154" y="73768"/>
                    </a:lnTo>
                    <a:lnTo>
                      <a:pt x="54154" y="57657"/>
                    </a:lnTo>
                    <a:lnTo>
                      <a:pt x="9308" y="57657"/>
                    </a:lnTo>
                    <a:lnTo>
                      <a:pt x="9308" y="73768"/>
                    </a:lnTo>
                    <a:lnTo>
                      <a:pt x="0" y="73768"/>
                    </a:lnTo>
                    <a:lnTo>
                      <a:pt x="0" y="48613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85F68474-1C77-FC4A-A55B-D80FB770F4C3}"/>
                  </a:ext>
                </a:extLst>
              </p:cNvPr>
              <p:cNvSpPr/>
              <p:nvPr/>
            </p:nvSpPr>
            <p:spPr>
              <a:xfrm>
                <a:off x="1522978" y="5935383"/>
                <a:ext cx="55564" cy="80833"/>
              </a:xfrm>
              <a:custGeom>
                <a:avLst/>
                <a:gdLst>
                  <a:gd name="connsiteX0" fmla="*/ 29615 w 55564"/>
                  <a:gd name="connsiteY0" fmla="*/ 66419 h 80833"/>
                  <a:gd name="connsiteX1" fmla="*/ 22000 w 55564"/>
                  <a:gd name="connsiteY1" fmla="*/ 77724 h 80833"/>
                  <a:gd name="connsiteX2" fmla="*/ 11282 w 55564"/>
                  <a:gd name="connsiteY2" fmla="*/ 80833 h 80833"/>
                  <a:gd name="connsiteX3" fmla="*/ 5923 w 55564"/>
                  <a:gd name="connsiteY3" fmla="*/ 80833 h 80833"/>
                  <a:gd name="connsiteX4" fmla="*/ 5923 w 55564"/>
                  <a:gd name="connsiteY4" fmla="*/ 71789 h 80833"/>
                  <a:gd name="connsiteX5" fmla="*/ 9590 w 55564"/>
                  <a:gd name="connsiteY5" fmla="*/ 71789 h 80833"/>
                  <a:gd name="connsiteX6" fmla="*/ 16641 w 55564"/>
                  <a:gd name="connsiteY6" fmla="*/ 70093 h 80833"/>
                  <a:gd name="connsiteX7" fmla="*/ 21436 w 55564"/>
                  <a:gd name="connsiteY7" fmla="*/ 63310 h 80833"/>
                  <a:gd name="connsiteX8" fmla="*/ 23974 w 55564"/>
                  <a:gd name="connsiteY8" fmla="*/ 57092 h 80833"/>
                  <a:gd name="connsiteX9" fmla="*/ 0 w 55564"/>
                  <a:gd name="connsiteY9" fmla="*/ 0 h 80833"/>
                  <a:gd name="connsiteX10" fmla="*/ 10436 w 55564"/>
                  <a:gd name="connsiteY10" fmla="*/ 0 h 80833"/>
                  <a:gd name="connsiteX11" fmla="*/ 29051 w 55564"/>
                  <a:gd name="connsiteY11" fmla="*/ 45504 h 80833"/>
                  <a:gd name="connsiteX12" fmla="*/ 45692 w 55564"/>
                  <a:gd name="connsiteY12" fmla="*/ 0 h 80833"/>
                  <a:gd name="connsiteX13" fmla="*/ 55564 w 55564"/>
                  <a:gd name="connsiteY13" fmla="*/ 0 h 80833"/>
                  <a:gd name="connsiteX14" fmla="*/ 29615 w 55564"/>
                  <a:gd name="connsiteY14" fmla="*/ 66419 h 808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5564" h="80833">
                    <a:moveTo>
                      <a:pt x="29615" y="66419"/>
                    </a:moveTo>
                    <a:cubicBezTo>
                      <a:pt x="27359" y="71789"/>
                      <a:pt x="25103" y="75746"/>
                      <a:pt x="22000" y="77724"/>
                    </a:cubicBezTo>
                    <a:cubicBezTo>
                      <a:pt x="19180" y="79986"/>
                      <a:pt x="15513" y="80833"/>
                      <a:pt x="11282" y="80833"/>
                    </a:cubicBezTo>
                    <a:lnTo>
                      <a:pt x="5923" y="80833"/>
                    </a:lnTo>
                    <a:lnTo>
                      <a:pt x="5923" y="71789"/>
                    </a:lnTo>
                    <a:lnTo>
                      <a:pt x="9590" y="71789"/>
                    </a:lnTo>
                    <a:cubicBezTo>
                      <a:pt x="12410" y="71789"/>
                      <a:pt x="14667" y="71224"/>
                      <a:pt x="16641" y="70093"/>
                    </a:cubicBezTo>
                    <a:cubicBezTo>
                      <a:pt x="18615" y="68963"/>
                      <a:pt x="20308" y="66702"/>
                      <a:pt x="21436" y="63310"/>
                    </a:cubicBezTo>
                    <a:lnTo>
                      <a:pt x="23974" y="57092"/>
                    </a:lnTo>
                    <a:lnTo>
                      <a:pt x="0" y="0"/>
                    </a:lnTo>
                    <a:lnTo>
                      <a:pt x="10436" y="0"/>
                    </a:lnTo>
                    <a:lnTo>
                      <a:pt x="29051" y="45504"/>
                    </a:lnTo>
                    <a:lnTo>
                      <a:pt x="45692" y="0"/>
                    </a:lnTo>
                    <a:lnTo>
                      <a:pt x="55564" y="0"/>
                    </a:lnTo>
                    <a:lnTo>
                      <a:pt x="29615" y="66419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34" name="Freeform 33">
              <a:extLst>
                <a:ext uri="{FF2B5EF4-FFF2-40B4-BE49-F238E27FC236}">
                  <a16:creationId xmlns:a16="http://schemas.microsoft.com/office/drawing/2014/main" id="{A397C7BE-F388-7D4A-9EC7-D85F3562CAB6}"/>
                </a:ext>
              </a:extLst>
            </p:cNvPr>
            <p:cNvSpPr/>
            <p:nvPr/>
          </p:nvSpPr>
          <p:spPr>
            <a:xfrm>
              <a:off x="1588414" y="5935383"/>
              <a:ext cx="66282" cy="57374"/>
            </a:xfrm>
            <a:custGeom>
              <a:avLst/>
              <a:gdLst>
                <a:gd name="connsiteX0" fmla="*/ 0 w 66282"/>
                <a:gd name="connsiteY0" fmla="*/ 57375 h 57374"/>
                <a:gd name="connsiteX1" fmla="*/ 0 w 66282"/>
                <a:gd name="connsiteY1" fmla="*/ 0 h 57374"/>
                <a:gd name="connsiteX2" fmla="*/ 14103 w 66282"/>
                <a:gd name="connsiteY2" fmla="*/ 0 h 57374"/>
                <a:gd name="connsiteX3" fmla="*/ 33282 w 66282"/>
                <a:gd name="connsiteY3" fmla="*/ 48048 h 57374"/>
                <a:gd name="connsiteX4" fmla="*/ 52744 w 66282"/>
                <a:gd name="connsiteY4" fmla="*/ 0 h 57374"/>
                <a:gd name="connsiteX5" fmla="*/ 66282 w 66282"/>
                <a:gd name="connsiteY5" fmla="*/ 0 h 57374"/>
                <a:gd name="connsiteX6" fmla="*/ 66282 w 66282"/>
                <a:gd name="connsiteY6" fmla="*/ 57375 h 57374"/>
                <a:gd name="connsiteX7" fmla="*/ 56974 w 66282"/>
                <a:gd name="connsiteY7" fmla="*/ 57375 h 57374"/>
                <a:gd name="connsiteX8" fmla="*/ 56974 w 66282"/>
                <a:gd name="connsiteY8" fmla="*/ 10457 h 57374"/>
                <a:gd name="connsiteX9" fmla="*/ 37795 w 66282"/>
                <a:gd name="connsiteY9" fmla="*/ 57375 h 57374"/>
                <a:gd name="connsiteX10" fmla="*/ 27923 w 66282"/>
                <a:gd name="connsiteY10" fmla="*/ 57375 h 57374"/>
                <a:gd name="connsiteX11" fmla="*/ 8744 w 66282"/>
                <a:gd name="connsiteY11" fmla="*/ 10457 h 57374"/>
                <a:gd name="connsiteX12" fmla="*/ 8744 w 66282"/>
                <a:gd name="connsiteY1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282" h="57374">
                  <a:moveTo>
                    <a:pt x="0" y="57375"/>
                  </a:moveTo>
                  <a:lnTo>
                    <a:pt x="0" y="0"/>
                  </a:lnTo>
                  <a:lnTo>
                    <a:pt x="14103" y="0"/>
                  </a:lnTo>
                  <a:lnTo>
                    <a:pt x="33282" y="48048"/>
                  </a:lnTo>
                  <a:lnTo>
                    <a:pt x="52744" y="0"/>
                  </a:lnTo>
                  <a:lnTo>
                    <a:pt x="66282" y="0"/>
                  </a:lnTo>
                  <a:lnTo>
                    <a:pt x="66282" y="57375"/>
                  </a:lnTo>
                  <a:lnTo>
                    <a:pt x="56974" y="57375"/>
                  </a:lnTo>
                  <a:lnTo>
                    <a:pt x="56974" y="10457"/>
                  </a:lnTo>
                  <a:lnTo>
                    <a:pt x="37795" y="57375"/>
                  </a:lnTo>
                  <a:lnTo>
                    <a:pt x="27923" y="57375"/>
                  </a:lnTo>
                  <a:lnTo>
                    <a:pt x="8744" y="10457"/>
                  </a:lnTo>
                  <a:lnTo>
                    <a:pt x="8744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5" name="Freeform 34">
              <a:extLst>
                <a:ext uri="{FF2B5EF4-FFF2-40B4-BE49-F238E27FC236}">
                  <a16:creationId xmlns:a16="http://schemas.microsoft.com/office/drawing/2014/main" id="{C5DAA932-1209-AA4C-BCA7-A81CC2B627CA}"/>
                </a:ext>
              </a:extLst>
            </p:cNvPr>
            <p:cNvSpPr/>
            <p:nvPr/>
          </p:nvSpPr>
          <p:spPr>
            <a:xfrm>
              <a:off x="1669926" y="5934253"/>
              <a:ext cx="46820" cy="59635"/>
            </a:xfrm>
            <a:custGeom>
              <a:avLst/>
              <a:gdLst>
                <a:gd name="connsiteX0" fmla="*/ 37513 w 46820"/>
                <a:gd name="connsiteY0" fmla="*/ 33068 h 59635"/>
                <a:gd name="connsiteX1" fmla="*/ 29897 w 46820"/>
                <a:gd name="connsiteY1" fmla="*/ 33068 h 59635"/>
                <a:gd name="connsiteX2" fmla="*/ 21718 w 46820"/>
                <a:gd name="connsiteY2" fmla="*/ 33068 h 59635"/>
                <a:gd name="connsiteX3" fmla="*/ 12692 w 46820"/>
                <a:gd name="connsiteY3" fmla="*/ 35612 h 59635"/>
                <a:gd name="connsiteX4" fmla="*/ 9590 w 46820"/>
                <a:gd name="connsiteY4" fmla="*/ 42395 h 59635"/>
                <a:gd name="connsiteX5" fmla="*/ 12410 w 46820"/>
                <a:gd name="connsiteY5" fmla="*/ 48896 h 59635"/>
                <a:gd name="connsiteX6" fmla="*/ 20308 w 46820"/>
                <a:gd name="connsiteY6" fmla="*/ 51439 h 59635"/>
                <a:gd name="connsiteX7" fmla="*/ 32436 w 46820"/>
                <a:gd name="connsiteY7" fmla="*/ 47765 h 59635"/>
                <a:gd name="connsiteX8" fmla="*/ 37513 w 46820"/>
                <a:gd name="connsiteY8" fmla="*/ 38438 h 59635"/>
                <a:gd name="connsiteX9" fmla="*/ 37513 w 46820"/>
                <a:gd name="connsiteY9" fmla="*/ 33068 h 59635"/>
                <a:gd name="connsiteX10" fmla="*/ 38077 w 46820"/>
                <a:gd name="connsiteY10" fmla="*/ 58505 h 59635"/>
                <a:gd name="connsiteX11" fmla="*/ 38077 w 46820"/>
                <a:gd name="connsiteY11" fmla="*/ 51722 h 59635"/>
                <a:gd name="connsiteX12" fmla="*/ 30744 w 46820"/>
                <a:gd name="connsiteY12" fmla="*/ 57375 h 59635"/>
                <a:gd name="connsiteX13" fmla="*/ 20026 w 46820"/>
                <a:gd name="connsiteY13" fmla="*/ 59636 h 59635"/>
                <a:gd name="connsiteX14" fmla="*/ 5359 w 46820"/>
                <a:gd name="connsiteY14" fmla="*/ 55114 h 59635"/>
                <a:gd name="connsiteX15" fmla="*/ 0 w 46820"/>
                <a:gd name="connsiteY15" fmla="*/ 42678 h 59635"/>
                <a:gd name="connsiteX16" fmla="*/ 5923 w 46820"/>
                <a:gd name="connsiteY16" fmla="*/ 29677 h 59635"/>
                <a:gd name="connsiteX17" fmla="*/ 21718 w 46820"/>
                <a:gd name="connsiteY17" fmla="*/ 25437 h 59635"/>
                <a:gd name="connsiteX18" fmla="*/ 29897 w 46820"/>
                <a:gd name="connsiteY18" fmla="*/ 25437 h 59635"/>
                <a:gd name="connsiteX19" fmla="*/ 37513 w 46820"/>
                <a:gd name="connsiteY19" fmla="*/ 25720 h 59635"/>
                <a:gd name="connsiteX20" fmla="*/ 37513 w 46820"/>
                <a:gd name="connsiteY20" fmla="*/ 20632 h 59635"/>
                <a:gd name="connsiteX21" fmla="*/ 33846 w 46820"/>
                <a:gd name="connsiteY21" fmla="*/ 11588 h 59635"/>
                <a:gd name="connsiteX22" fmla="*/ 24821 w 46820"/>
                <a:gd name="connsiteY22" fmla="*/ 8762 h 59635"/>
                <a:gd name="connsiteX23" fmla="*/ 15513 w 46820"/>
                <a:gd name="connsiteY23" fmla="*/ 11871 h 59635"/>
                <a:gd name="connsiteX24" fmla="*/ 11000 w 46820"/>
                <a:gd name="connsiteY24" fmla="*/ 19219 h 59635"/>
                <a:gd name="connsiteX25" fmla="*/ 1974 w 46820"/>
                <a:gd name="connsiteY25" fmla="*/ 17241 h 59635"/>
                <a:gd name="connsiteX26" fmla="*/ 9590 w 46820"/>
                <a:gd name="connsiteY26" fmla="*/ 4805 h 59635"/>
                <a:gd name="connsiteX27" fmla="*/ 24821 w 46820"/>
                <a:gd name="connsiteY27" fmla="*/ 0 h 59635"/>
                <a:gd name="connsiteX28" fmla="*/ 40615 w 46820"/>
                <a:gd name="connsiteY28" fmla="*/ 4805 h 59635"/>
                <a:gd name="connsiteX29" fmla="*/ 46821 w 46820"/>
                <a:gd name="connsiteY29" fmla="*/ 20067 h 59635"/>
                <a:gd name="connsiteX30" fmla="*/ 46821 w 46820"/>
                <a:gd name="connsiteY30" fmla="*/ 58505 h 59635"/>
                <a:gd name="connsiteX31" fmla="*/ 38077 w 46820"/>
                <a:gd name="connsiteY31" fmla="*/ 58505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46820" h="59635">
                  <a:moveTo>
                    <a:pt x="37513" y="33068"/>
                  </a:moveTo>
                  <a:cubicBezTo>
                    <a:pt x="35256" y="33068"/>
                    <a:pt x="32718" y="33068"/>
                    <a:pt x="29897" y="33068"/>
                  </a:cubicBezTo>
                  <a:cubicBezTo>
                    <a:pt x="27359" y="33068"/>
                    <a:pt x="24538" y="33068"/>
                    <a:pt x="21718" y="33068"/>
                  </a:cubicBezTo>
                  <a:cubicBezTo>
                    <a:pt x="17769" y="33351"/>
                    <a:pt x="14667" y="34199"/>
                    <a:pt x="12692" y="35612"/>
                  </a:cubicBezTo>
                  <a:cubicBezTo>
                    <a:pt x="10718" y="37308"/>
                    <a:pt x="9590" y="39569"/>
                    <a:pt x="9590" y="42395"/>
                  </a:cubicBezTo>
                  <a:cubicBezTo>
                    <a:pt x="9590" y="45222"/>
                    <a:pt x="10436" y="47200"/>
                    <a:pt x="12410" y="48896"/>
                  </a:cubicBezTo>
                  <a:cubicBezTo>
                    <a:pt x="14385" y="50592"/>
                    <a:pt x="16923" y="51439"/>
                    <a:pt x="20308" y="51439"/>
                  </a:cubicBezTo>
                  <a:cubicBezTo>
                    <a:pt x="25103" y="51439"/>
                    <a:pt x="29051" y="50309"/>
                    <a:pt x="32436" y="47765"/>
                  </a:cubicBezTo>
                  <a:cubicBezTo>
                    <a:pt x="35821" y="45504"/>
                    <a:pt x="37513" y="42395"/>
                    <a:pt x="37513" y="38438"/>
                  </a:cubicBezTo>
                  <a:lnTo>
                    <a:pt x="37513" y="33068"/>
                  </a:lnTo>
                  <a:close/>
                  <a:moveTo>
                    <a:pt x="38077" y="58505"/>
                  </a:moveTo>
                  <a:lnTo>
                    <a:pt x="38077" y="51722"/>
                  </a:lnTo>
                  <a:cubicBezTo>
                    <a:pt x="36385" y="53983"/>
                    <a:pt x="33846" y="55962"/>
                    <a:pt x="30744" y="57375"/>
                  </a:cubicBezTo>
                  <a:cubicBezTo>
                    <a:pt x="27641" y="58788"/>
                    <a:pt x="24256" y="59636"/>
                    <a:pt x="20026" y="59636"/>
                  </a:cubicBezTo>
                  <a:cubicBezTo>
                    <a:pt x="13821" y="59636"/>
                    <a:pt x="9026" y="58223"/>
                    <a:pt x="5359" y="55114"/>
                  </a:cubicBezTo>
                  <a:cubicBezTo>
                    <a:pt x="1692" y="52005"/>
                    <a:pt x="0" y="47765"/>
                    <a:pt x="0" y="42678"/>
                  </a:cubicBezTo>
                  <a:cubicBezTo>
                    <a:pt x="0" y="36742"/>
                    <a:pt x="1974" y="32503"/>
                    <a:pt x="5923" y="29677"/>
                  </a:cubicBezTo>
                  <a:cubicBezTo>
                    <a:pt x="9872" y="27133"/>
                    <a:pt x="14949" y="25437"/>
                    <a:pt x="21718" y="25437"/>
                  </a:cubicBezTo>
                  <a:cubicBezTo>
                    <a:pt x="24538" y="25437"/>
                    <a:pt x="27359" y="25437"/>
                    <a:pt x="29897" y="25437"/>
                  </a:cubicBezTo>
                  <a:cubicBezTo>
                    <a:pt x="32436" y="25437"/>
                    <a:pt x="34974" y="25437"/>
                    <a:pt x="37513" y="25720"/>
                  </a:cubicBezTo>
                  <a:lnTo>
                    <a:pt x="37513" y="20632"/>
                  </a:lnTo>
                  <a:cubicBezTo>
                    <a:pt x="37513" y="16393"/>
                    <a:pt x="36385" y="13284"/>
                    <a:pt x="33846" y="11588"/>
                  </a:cubicBezTo>
                  <a:cubicBezTo>
                    <a:pt x="31590" y="9610"/>
                    <a:pt x="28487" y="8762"/>
                    <a:pt x="24821" y="8762"/>
                  </a:cubicBezTo>
                  <a:cubicBezTo>
                    <a:pt x="20872" y="8762"/>
                    <a:pt x="17769" y="9892"/>
                    <a:pt x="15513" y="11871"/>
                  </a:cubicBezTo>
                  <a:cubicBezTo>
                    <a:pt x="13538" y="13849"/>
                    <a:pt x="11846" y="16393"/>
                    <a:pt x="11000" y="19219"/>
                  </a:cubicBezTo>
                  <a:lnTo>
                    <a:pt x="1974" y="17241"/>
                  </a:lnTo>
                  <a:cubicBezTo>
                    <a:pt x="3103" y="12153"/>
                    <a:pt x="5641" y="8196"/>
                    <a:pt x="9590" y="4805"/>
                  </a:cubicBezTo>
                  <a:cubicBezTo>
                    <a:pt x="13538" y="1696"/>
                    <a:pt x="18615" y="0"/>
                    <a:pt x="24821" y="0"/>
                  </a:cubicBezTo>
                  <a:cubicBezTo>
                    <a:pt x="31308" y="0"/>
                    <a:pt x="36667" y="1696"/>
                    <a:pt x="40615" y="4805"/>
                  </a:cubicBezTo>
                  <a:cubicBezTo>
                    <a:pt x="44846" y="8196"/>
                    <a:pt x="46821" y="13284"/>
                    <a:pt x="46821" y="20067"/>
                  </a:cubicBezTo>
                  <a:lnTo>
                    <a:pt x="46821" y="58505"/>
                  </a:lnTo>
                  <a:lnTo>
                    <a:pt x="38077" y="5850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33B05C48-04C5-AB40-8AA6-D709FA4E3EBE}"/>
                </a:ext>
              </a:extLst>
            </p:cNvPr>
            <p:cNvSpPr/>
            <p:nvPr/>
          </p:nvSpPr>
          <p:spPr>
            <a:xfrm>
              <a:off x="1734234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9F6D605A-1F55-E447-831C-1BDAD4AA188C}"/>
                </a:ext>
              </a:extLst>
            </p:cNvPr>
            <p:cNvSpPr/>
            <p:nvPr/>
          </p:nvSpPr>
          <p:spPr>
            <a:xfrm>
              <a:off x="1801362" y="5935383"/>
              <a:ext cx="49359" cy="57374"/>
            </a:xfrm>
            <a:custGeom>
              <a:avLst/>
              <a:gdLst>
                <a:gd name="connsiteX0" fmla="*/ 0 w 49359"/>
                <a:gd name="connsiteY0" fmla="*/ 57375 h 57374"/>
                <a:gd name="connsiteX1" fmla="*/ 0 w 49359"/>
                <a:gd name="connsiteY1" fmla="*/ 0 h 57374"/>
                <a:gd name="connsiteX2" fmla="*/ 9590 w 49359"/>
                <a:gd name="connsiteY2" fmla="*/ 0 h 57374"/>
                <a:gd name="connsiteX3" fmla="*/ 9590 w 49359"/>
                <a:gd name="connsiteY3" fmla="*/ 23459 h 57374"/>
                <a:gd name="connsiteX4" fmla="*/ 39769 w 49359"/>
                <a:gd name="connsiteY4" fmla="*/ 23459 h 57374"/>
                <a:gd name="connsiteX5" fmla="*/ 39769 w 49359"/>
                <a:gd name="connsiteY5" fmla="*/ 0 h 57374"/>
                <a:gd name="connsiteX6" fmla="*/ 49359 w 49359"/>
                <a:gd name="connsiteY6" fmla="*/ 0 h 57374"/>
                <a:gd name="connsiteX7" fmla="*/ 49359 w 49359"/>
                <a:gd name="connsiteY7" fmla="*/ 57375 h 57374"/>
                <a:gd name="connsiteX8" fmla="*/ 39769 w 49359"/>
                <a:gd name="connsiteY8" fmla="*/ 57375 h 57374"/>
                <a:gd name="connsiteX9" fmla="*/ 39769 w 49359"/>
                <a:gd name="connsiteY9" fmla="*/ 32503 h 57374"/>
                <a:gd name="connsiteX10" fmla="*/ 9590 w 49359"/>
                <a:gd name="connsiteY10" fmla="*/ 32503 h 57374"/>
                <a:gd name="connsiteX11" fmla="*/ 9590 w 49359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359" h="57374"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359" y="0"/>
                  </a:lnTo>
                  <a:lnTo>
                    <a:pt x="49359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590" y="32503"/>
                  </a:lnTo>
                  <a:lnTo>
                    <a:pt x="959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91FC9B31-E37F-BE4B-A0BF-EE73657BE81F}"/>
                </a:ext>
              </a:extLst>
            </p:cNvPr>
            <p:cNvSpPr/>
            <p:nvPr/>
          </p:nvSpPr>
          <p:spPr>
            <a:xfrm>
              <a:off x="1868491" y="5935383"/>
              <a:ext cx="62333" cy="57374"/>
            </a:xfrm>
            <a:custGeom>
              <a:avLst/>
              <a:gdLst>
                <a:gd name="connsiteX0" fmla="*/ 52744 w 62333"/>
                <a:gd name="connsiteY0" fmla="*/ 0 h 57374"/>
                <a:gd name="connsiteX1" fmla="*/ 62333 w 62333"/>
                <a:gd name="connsiteY1" fmla="*/ 0 h 57374"/>
                <a:gd name="connsiteX2" fmla="*/ 62333 w 62333"/>
                <a:gd name="connsiteY2" fmla="*/ 57375 h 57374"/>
                <a:gd name="connsiteX3" fmla="*/ 52744 w 62333"/>
                <a:gd name="connsiteY3" fmla="*/ 57375 h 57374"/>
                <a:gd name="connsiteX4" fmla="*/ 52744 w 62333"/>
                <a:gd name="connsiteY4" fmla="*/ 0 h 57374"/>
                <a:gd name="connsiteX5" fmla="*/ 24256 w 62333"/>
                <a:gd name="connsiteY5" fmla="*/ 28546 h 57374"/>
                <a:gd name="connsiteX6" fmla="*/ 9590 w 62333"/>
                <a:gd name="connsiteY6" fmla="*/ 28546 h 57374"/>
                <a:gd name="connsiteX7" fmla="*/ 9590 w 62333"/>
                <a:gd name="connsiteY7" fmla="*/ 48896 h 57374"/>
                <a:gd name="connsiteX8" fmla="*/ 24256 w 62333"/>
                <a:gd name="connsiteY8" fmla="*/ 48896 h 57374"/>
                <a:gd name="connsiteX9" fmla="*/ 33000 w 62333"/>
                <a:gd name="connsiteY9" fmla="*/ 46069 h 57374"/>
                <a:gd name="connsiteX10" fmla="*/ 35256 w 62333"/>
                <a:gd name="connsiteY10" fmla="*/ 38438 h 57374"/>
                <a:gd name="connsiteX11" fmla="*/ 33000 w 62333"/>
                <a:gd name="connsiteY11" fmla="*/ 31090 h 57374"/>
                <a:gd name="connsiteX12" fmla="*/ 24256 w 62333"/>
                <a:gd name="connsiteY12" fmla="*/ 28546 h 57374"/>
                <a:gd name="connsiteX13" fmla="*/ 0 w 62333"/>
                <a:gd name="connsiteY13" fmla="*/ 57375 h 57374"/>
                <a:gd name="connsiteX14" fmla="*/ 0 w 62333"/>
                <a:gd name="connsiteY14" fmla="*/ 0 h 57374"/>
                <a:gd name="connsiteX15" fmla="*/ 9590 w 62333"/>
                <a:gd name="connsiteY15" fmla="*/ 0 h 57374"/>
                <a:gd name="connsiteX16" fmla="*/ 9590 w 62333"/>
                <a:gd name="connsiteY16" fmla="*/ 19784 h 57374"/>
                <a:gd name="connsiteX17" fmla="*/ 24256 w 62333"/>
                <a:gd name="connsiteY17" fmla="*/ 19784 h 57374"/>
                <a:gd name="connsiteX18" fmla="*/ 39205 w 62333"/>
                <a:gd name="connsiteY18" fmla="*/ 24589 h 57374"/>
                <a:gd name="connsiteX19" fmla="*/ 44282 w 62333"/>
                <a:gd name="connsiteY19" fmla="*/ 38156 h 57374"/>
                <a:gd name="connsiteX20" fmla="*/ 39205 w 62333"/>
                <a:gd name="connsiteY20" fmla="*/ 52287 h 57374"/>
                <a:gd name="connsiteX21" fmla="*/ 23974 w 62333"/>
                <a:gd name="connsiteY21" fmla="*/ 57375 h 57374"/>
                <a:gd name="connsiteX22" fmla="*/ 0 w 62333"/>
                <a:gd name="connsiteY22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2333" h="57374">
                  <a:moveTo>
                    <a:pt x="52744" y="0"/>
                  </a:moveTo>
                  <a:lnTo>
                    <a:pt x="62333" y="0"/>
                  </a:lnTo>
                  <a:lnTo>
                    <a:pt x="62333" y="57375"/>
                  </a:lnTo>
                  <a:lnTo>
                    <a:pt x="52744" y="57375"/>
                  </a:lnTo>
                  <a:lnTo>
                    <a:pt x="52744" y="0"/>
                  </a:lnTo>
                  <a:close/>
                  <a:moveTo>
                    <a:pt x="24256" y="28546"/>
                  </a:moveTo>
                  <a:lnTo>
                    <a:pt x="9590" y="28546"/>
                  </a:lnTo>
                  <a:lnTo>
                    <a:pt x="9590" y="48896"/>
                  </a:lnTo>
                  <a:lnTo>
                    <a:pt x="24256" y="48896"/>
                  </a:lnTo>
                  <a:cubicBezTo>
                    <a:pt x="28487" y="48896"/>
                    <a:pt x="31590" y="47765"/>
                    <a:pt x="33000" y="46069"/>
                  </a:cubicBezTo>
                  <a:cubicBezTo>
                    <a:pt x="34692" y="44091"/>
                    <a:pt x="35256" y="41547"/>
                    <a:pt x="35256" y="38438"/>
                  </a:cubicBezTo>
                  <a:cubicBezTo>
                    <a:pt x="35256" y="35329"/>
                    <a:pt x="34410" y="32786"/>
                    <a:pt x="33000" y="31090"/>
                  </a:cubicBezTo>
                  <a:cubicBezTo>
                    <a:pt x="31590" y="29394"/>
                    <a:pt x="28769" y="28546"/>
                    <a:pt x="24256" y="28546"/>
                  </a:cubicBezTo>
                  <a:moveTo>
                    <a:pt x="0" y="57375"/>
                  </a:moveTo>
                  <a:lnTo>
                    <a:pt x="0" y="0"/>
                  </a:lnTo>
                  <a:lnTo>
                    <a:pt x="9590" y="0"/>
                  </a:lnTo>
                  <a:lnTo>
                    <a:pt x="9590" y="19784"/>
                  </a:lnTo>
                  <a:lnTo>
                    <a:pt x="24256" y="19784"/>
                  </a:lnTo>
                  <a:cubicBezTo>
                    <a:pt x="30744" y="19784"/>
                    <a:pt x="35821" y="21480"/>
                    <a:pt x="39205" y="24589"/>
                  </a:cubicBezTo>
                  <a:cubicBezTo>
                    <a:pt x="42590" y="27698"/>
                    <a:pt x="44282" y="32220"/>
                    <a:pt x="44282" y="38156"/>
                  </a:cubicBezTo>
                  <a:cubicBezTo>
                    <a:pt x="44282" y="44091"/>
                    <a:pt x="42590" y="48896"/>
                    <a:pt x="39205" y="52287"/>
                  </a:cubicBezTo>
                  <a:cubicBezTo>
                    <a:pt x="35821" y="55679"/>
                    <a:pt x="30744" y="57375"/>
                    <a:pt x="23974" y="57375"/>
                  </a:cubicBezTo>
                  <a:lnTo>
                    <a:pt x="0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BD78A59F-65ED-154F-9BB0-F3D1A7A2D934}"/>
                </a:ext>
              </a:extLst>
            </p:cNvPr>
            <p:cNvSpPr/>
            <p:nvPr/>
          </p:nvSpPr>
          <p:spPr>
            <a:xfrm>
              <a:off x="1941542" y="5935383"/>
              <a:ext cx="54435" cy="57374"/>
            </a:xfrm>
            <a:custGeom>
              <a:avLst/>
              <a:gdLst>
                <a:gd name="connsiteX0" fmla="*/ 42872 w 54435"/>
                <a:gd name="connsiteY0" fmla="*/ 57375 h 57374"/>
                <a:gd name="connsiteX1" fmla="*/ 26795 w 54435"/>
                <a:gd name="connsiteY1" fmla="*/ 34481 h 57374"/>
                <a:gd name="connsiteX2" fmla="*/ 11282 w 54435"/>
                <a:gd name="connsiteY2" fmla="*/ 57375 h 57374"/>
                <a:gd name="connsiteX3" fmla="*/ 0 w 54435"/>
                <a:gd name="connsiteY3" fmla="*/ 57375 h 57374"/>
                <a:gd name="connsiteX4" fmla="*/ 21154 w 54435"/>
                <a:gd name="connsiteY4" fmla="*/ 27981 h 57374"/>
                <a:gd name="connsiteX5" fmla="*/ 1410 w 54435"/>
                <a:gd name="connsiteY5" fmla="*/ 0 h 57374"/>
                <a:gd name="connsiteX6" fmla="*/ 12410 w 54435"/>
                <a:gd name="connsiteY6" fmla="*/ 0 h 57374"/>
                <a:gd name="connsiteX7" fmla="*/ 26795 w 54435"/>
                <a:gd name="connsiteY7" fmla="*/ 21198 h 57374"/>
                <a:gd name="connsiteX8" fmla="*/ 41462 w 54435"/>
                <a:gd name="connsiteY8" fmla="*/ 0 h 57374"/>
                <a:gd name="connsiteX9" fmla="*/ 52462 w 54435"/>
                <a:gd name="connsiteY9" fmla="*/ 0 h 57374"/>
                <a:gd name="connsiteX10" fmla="*/ 32436 w 54435"/>
                <a:gd name="connsiteY10" fmla="*/ 27416 h 57374"/>
                <a:gd name="connsiteX11" fmla="*/ 54436 w 54435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4435" h="57374">
                  <a:moveTo>
                    <a:pt x="42872" y="57375"/>
                  </a:moveTo>
                  <a:lnTo>
                    <a:pt x="26795" y="34481"/>
                  </a:lnTo>
                  <a:lnTo>
                    <a:pt x="11282" y="57375"/>
                  </a:lnTo>
                  <a:lnTo>
                    <a:pt x="0" y="57375"/>
                  </a:lnTo>
                  <a:lnTo>
                    <a:pt x="21154" y="27981"/>
                  </a:lnTo>
                  <a:lnTo>
                    <a:pt x="1410" y="0"/>
                  </a:lnTo>
                  <a:lnTo>
                    <a:pt x="12410" y="0"/>
                  </a:lnTo>
                  <a:lnTo>
                    <a:pt x="26795" y="21198"/>
                  </a:lnTo>
                  <a:lnTo>
                    <a:pt x="41462" y="0"/>
                  </a:lnTo>
                  <a:lnTo>
                    <a:pt x="52462" y="0"/>
                  </a:lnTo>
                  <a:lnTo>
                    <a:pt x="32436" y="27416"/>
                  </a:lnTo>
                  <a:lnTo>
                    <a:pt x="54436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grpSp>
          <p:nvGrpSpPr>
            <p:cNvPr id="40" name="Graphic 13">
              <a:extLst>
                <a:ext uri="{FF2B5EF4-FFF2-40B4-BE49-F238E27FC236}">
                  <a16:creationId xmlns:a16="http://schemas.microsoft.com/office/drawing/2014/main" id="{A3412EFB-25E5-F24C-9AA5-A8B3CDCDE57F}"/>
                </a:ext>
              </a:extLst>
            </p:cNvPr>
            <p:cNvGrpSpPr/>
            <p:nvPr/>
          </p:nvGrpSpPr>
          <p:grpSpPr>
            <a:xfrm>
              <a:off x="1266593" y="6057199"/>
              <a:ext cx="116205" cy="82246"/>
              <a:chOff x="1266593" y="6057199"/>
              <a:chExt cx="116205" cy="82246"/>
            </a:xfrm>
            <a:solidFill>
              <a:srgbClr val="CFD4D9"/>
            </a:solidFill>
          </p:grpSpPr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A54C67D7-4E2A-194D-8C27-C5B336C4882D}"/>
                  </a:ext>
                </a:extLst>
              </p:cNvPr>
              <p:cNvSpPr/>
              <p:nvPr/>
            </p:nvSpPr>
            <p:spPr>
              <a:xfrm>
                <a:off x="1266593" y="6057199"/>
                <a:ext cx="54153" cy="82246"/>
              </a:xfrm>
              <a:custGeom>
                <a:avLst/>
                <a:gdLst>
                  <a:gd name="connsiteX0" fmla="*/ 9308 w 54153"/>
                  <a:gd name="connsiteY0" fmla="*/ 34764 h 82246"/>
                  <a:gd name="connsiteX1" fmla="*/ 14667 w 54153"/>
                  <a:gd name="connsiteY1" fmla="*/ 46917 h 82246"/>
                  <a:gd name="connsiteX2" fmla="*/ 27359 w 54153"/>
                  <a:gd name="connsiteY2" fmla="*/ 51439 h 82246"/>
                  <a:gd name="connsiteX3" fmla="*/ 39769 w 54153"/>
                  <a:gd name="connsiteY3" fmla="*/ 45504 h 82246"/>
                  <a:gd name="connsiteX4" fmla="*/ 44282 w 54153"/>
                  <a:gd name="connsiteY4" fmla="*/ 29677 h 82246"/>
                  <a:gd name="connsiteX5" fmla="*/ 39769 w 54153"/>
                  <a:gd name="connsiteY5" fmla="*/ 14414 h 82246"/>
                  <a:gd name="connsiteX6" fmla="*/ 27077 w 54153"/>
                  <a:gd name="connsiteY6" fmla="*/ 8479 h 82246"/>
                  <a:gd name="connsiteX7" fmla="*/ 20590 w 54153"/>
                  <a:gd name="connsiteY7" fmla="*/ 9610 h 82246"/>
                  <a:gd name="connsiteX8" fmla="*/ 14949 w 54153"/>
                  <a:gd name="connsiteY8" fmla="*/ 13284 h 82246"/>
                  <a:gd name="connsiteX9" fmla="*/ 11000 w 54153"/>
                  <a:gd name="connsiteY9" fmla="*/ 19219 h 82246"/>
                  <a:gd name="connsiteX10" fmla="*/ 9590 w 54153"/>
                  <a:gd name="connsiteY10" fmla="*/ 27416 h 82246"/>
                  <a:gd name="connsiteX11" fmla="*/ 9590 w 54153"/>
                  <a:gd name="connsiteY11" fmla="*/ 34764 h 82246"/>
                  <a:gd name="connsiteX12" fmla="*/ 0 w 54153"/>
                  <a:gd name="connsiteY12" fmla="*/ 82247 h 82246"/>
                  <a:gd name="connsiteX13" fmla="*/ 0 w 54153"/>
                  <a:gd name="connsiteY13" fmla="*/ 1413 h 82246"/>
                  <a:gd name="connsiteX14" fmla="*/ 9590 w 54153"/>
                  <a:gd name="connsiteY14" fmla="*/ 1413 h 82246"/>
                  <a:gd name="connsiteX15" fmla="*/ 9590 w 54153"/>
                  <a:gd name="connsiteY15" fmla="*/ 9044 h 82246"/>
                  <a:gd name="connsiteX16" fmla="*/ 18051 w 54153"/>
                  <a:gd name="connsiteY16" fmla="*/ 2261 h 82246"/>
                  <a:gd name="connsiteX17" fmla="*/ 29051 w 54153"/>
                  <a:gd name="connsiteY17" fmla="*/ 0 h 82246"/>
                  <a:gd name="connsiteX18" fmla="*/ 38923 w 54153"/>
                  <a:gd name="connsiteY18" fmla="*/ 1978 h 82246"/>
                  <a:gd name="connsiteX19" fmla="*/ 46821 w 54153"/>
                  <a:gd name="connsiteY19" fmla="*/ 7631 h 82246"/>
                  <a:gd name="connsiteX20" fmla="*/ 52180 w 54153"/>
                  <a:gd name="connsiteY20" fmla="*/ 16958 h 82246"/>
                  <a:gd name="connsiteX21" fmla="*/ 54154 w 54153"/>
                  <a:gd name="connsiteY21" fmla="*/ 29677 h 82246"/>
                  <a:gd name="connsiteX22" fmla="*/ 46821 w 54153"/>
                  <a:gd name="connsiteY22" fmla="*/ 52005 h 82246"/>
                  <a:gd name="connsiteX23" fmla="*/ 27359 w 54153"/>
                  <a:gd name="connsiteY23" fmla="*/ 60201 h 82246"/>
                  <a:gd name="connsiteX24" fmla="*/ 17205 w 54153"/>
                  <a:gd name="connsiteY24" fmla="*/ 58223 h 82246"/>
                  <a:gd name="connsiteX25" fmla="*/ 9590 w 54153"/>
                  <a:gd name="connsiteY25" fmla="*/ 52570 h 82246"/>
                  <a:gd name="connsiteX26" fmla="*/ 9590 w 54153"/>
                  <a:gd name="connsiteY26" fmla="*/ 82247 h 82246"/>
                  <a:gd name="connsiteX27" fmla="*/ 0 w 54153"/>
                  <a:gd name="connsiteY27" fmla="*/ 82247 h 822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54153" h="82246">
                    <a:moveTo>
                      <a:pt x="9308" y="34764"/>
                    </a:moveTo>
                    <a:cubicBezTo>
                      <a:pt x="9308" y="40134"/>
                      <a:pt x="11000" y="44091"/>
                      <a:pt x="14667" y="46917"/>
                    </a:cubicBezTo>
                    <a:cubicBezTo>
                      <a:pt x="18333" y="49744"/>
                      <a:pt x="22564" y="51439"/>
                      <a:pt x="27359" y="51439"/>
                    </a:cubicBezTo>
                    <a:cubicBezTo>
                      <a:pt x="32718" y="51439"/>
                      <a:pt x="36667" y="49461"/>
                      <a:pt x="39769" y="45504"/>
                    </a:cubicBezTo>
                    <a:cubicBezTo>
                      <a:pt x="42872" y="41547"/>
                      <a:pt x="44282" y="36460"/>
                      <a:pt x="44282" y="29677"/>
                    </a:cubicBezTo>
                    <a:cubicBezTo>
                      <a:pt x="44282" y="23459"/>
                      <a:pt x="42872" y="18371"/>
                      <a:pt x="39769" y="14414"/>
                    </a:cubicBezTo>
                    <a:cubicBezTo>
                      <a:pt x="36667" y="10457"/>
                      <a:pt x="32436" y="8479"/>
                      <a:pt x="27077" y="8479"/>
                    </a:cubicBezTo>
                    <a:cubicBezTo>
                      <a:pt x="24821" y="8479"/>
                      <a:pt x="22564" y="8762"/>
                      <a:pt x="20590" y="9610"/>
                    </a:cubicBezTo>
                    <a:cubicBezTo>
                      <a:pt x="18615" y="10457"/>
                      <a:pt x="16641" y="11588"/>
                      <a:pt x="14949" y="13284"/>
                    </a:cubicBezTo>
                    <a:cubicBezTo>
                      <a:pt x="13256" y="14980"/>
                      <a:pt x="11846" y="16958"/>
                      <a:pt x="11000" y="19219"/>
                    </a:cubicBezTo>
                    <a:cubicBezTo>
                      <a:pt x="9872" y="21763"/>
                      <a:pt x="9590" y="24307"/>
                      <a:pt x="9590" y="27416"/>
                    </a:cubicBezTo>
                    <a:lnTo>
                      <a:pt x="9590" y="34764"/>
                    </a:lnTo>
                    <a:close/>
                    <a:moveTo>
                      <a:pt x="0" y="82247"/>
                    </a:moveTo>
                    <a:lnTo>
                      <a:pt x="0" y="1413"/>
                    </a:lnTo>
                    <a:lnTo>
                      <a:pt x="9590" y="1413"/>
                    </a:lnTo>
                    <a:lnTo>
                      <a:pt x="9590" y="9044"/>
                    </a:lnTo>
                    <a:cubicBezTo>
                      <a:pt x="11564" y="5935"/>
                      <a:pt x="14385" y="3957"/>
                      <a:pt x="18051" y="2261"/>
                    </a:cubicBezTo>
                    <a:cubicBezTo>
                      <a:pt x="21436" y="848"/>
                      <a:pt x="25103" y="0"/>
                      <a:pt x="29051" y="0"/>
                    </a:cubicBezTo>
                    <a:cubicBezTo>
                      <a:pt x="32436" y="0"/>
                      <a:pt x="35821" y="565"/>
                      <a:pt x="38923" y="1978"/>
                    </a:cubicBezTo>
                    <a:cubicBezTo>
                      <a:pt x="42026" y="3109"/>
                      <a:pt x="44564" y="5087"/>
                      <a:pt x="46821" y="7631"/>
                    </a:cubicBezTo>
                    <a:cubicBezTo>
                      <a:pt x="49077" y="10175"/>
                      <a:pt x="51051" y="13284"/>
                      <a:pt x="52180" y="16958"/>
                    </a:cubicBezTo>
                    <a:cubicBezTo>
                      <a:pt x="53590" y="20632"/>
                      <a:pt x="54154" y="24872"/>
                      <a:pt x="54154" y="29677"/>
                    </a:cubicBezTo>
                    <a:cubicBezTo>
                      <a:pt x="54154" y="39286"/>
                      <a:pt x="51615" y="46635"/>
                      <a:pt x="46821" y="52005"/>
                    </a:cubicBezTo>
                    <a:cubicBezTo>
                      <a:pt x="42026" y="57375"/>
                      <a:pt x="35538" y="60201"/>
                      <a:pt x="27359" y="60201"/>
                    </a:cubicBezTo>
                    <a:cubicBezTo>
                      <a:pt x="23692" y="60201"/>
                      <a:pt x="20308" y="59636"/>
                      <a:pt x="17205" y="58223"/>
                    </a:cubicBezTo>
                    <a:cubicBezTo>
                      <a:pt x="14103" y="56810"/>
                      <a:pt x="11564" y="55114"/>
                      <a:pt x="9590" y="52570"/>
                    </a:cubicBezTo>
                    <a:lnTo>
                      <a:pt x="9590" y="82247"/>
                    </a:lnTo>
                    <a:lnTo>
                      <a:pt x="0" y="82247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E4D661F3-775B-484D-9B38-07EB41236708}"/>
                  </a:ext>
                </a:extLst>
              </p:cNvPr>
              <p:cNvSpPr/>
              <p:nvPr/>
            </p:nvSpPr>
            <p:spPr>
              <a:xfrm>
                <a:off x="1331465" y="6057764"/>
                <a:ext cx="51333" cy="59635"/>
              </a:xfrm>
              <a:custGeom>
                <a:avLst/>
                <a:gdLst>
                  <a:gd name="connsiteX0" fmla="*/ 26513 w 51333"/>
                  <a:gd name="connsiteY0" fmla="*/ 7914 h 59635"/>
                  <a:gd name="connsiteX1" fmla="*/ 15513 w 51333"/>
                  <a:gd name="connsiteY1" fmla="*/ 12153 h 59635"/>
                  <a:gd name="connsiteX2" fmla="*/ 9872 w 51333"/>
                  <a:gd name="connsiteY2" fmla="*/ 23176 h 59635"/>
                  <a:gd name="connsiteX3" fmla="*/ 42026 w 51333"/>
                  <a:gd name="connsiteY3" fmla="*/ 23176 h 59635"/>
                  <a:gd name="connsiteX4" fmla="*/ 38077 w 51333"/>
                  <a:gd name="connsiteY4" fmla="*/ 12153 h 59635"/>
                  <a:gd name="connsiteX5" fmla="*/ 26513 w 51333"/>
                  <a:gd name="connsiteY5" fmla="*/ 7914 h 59635"/>
                  <a:gd name="connsiteX6" fmla="*/ 51333 w 51333"/>
                  <a:gd name="connsiteY6" fmla="*/ 31372 h 59635"/>
                  <a:gd name="connsiteX7" fmla="*/ 9590 w 51333"/>
                  <a:gd name="connsiteY7" fmla="*/ 31372 h 59635"/>
                  <a:gd name="connsiteX8" fmla="*/ 14949 w 51333"/>
                  <a:gd name="connsiteY8" fmla="*/ 46069 h 59635"/>
                  <a:gd name="connsiteX9" fmla="*/ 27077 w 51333"/>
                  <a:gd name="connsiteY9" fmla="*/ 51157 h 59635"/>
                  <a:gd name="connsiteX10" fmla="*/ 37513 w 51333"/>
                  <a:gd name="connsiteY10" fmla="*/ 48048 h 59635"/>
                  <a:gd name="connsiteX11" fmla="*/ 42308 w 51333"/>
                  <a:gd name="connsiteY11" fmla="*/ 40699 h 59635"/>
                  <a:gd name="connsiteX12" fmla="*/ 51333 w 51333"/>
                  <a:gd name="connsiteY12" fmla="*/ 42395 h 59635"/>
                  <a:gd name="connsiteX13" fmla="*/ 42872 w 51333"/>
                  <a:gd name="connsiteY13" fmla="*/ 55114 h 59635"/>
                  <a:gd name="connsiteX14" fmla="*/ 26795 w 51333"/>
                  <a:gd name="connsiteY14" fmla="*/ 59636 h 59635"/>
                  <a:gd name="connsiteX15" fmla="*/ 7333 w 51333"/>
                  <a:gd name="connsiteY15" fmla="*/ 51722 h 59635"/>
                  <a:gd name="connsiteX16" fmla="*/ 0 w 51333"/>
                  <a:gd name="connsiteY16" fmla="*/ 29677 h 59635"/>
                  <a:gd name="connsiteX17" fmla="*/ 1974 w 51333"/>
                  <a:gd name="connsiteY17" fmla="*/ 16958 h 59635"/>
                  <a:gd name="connsiteX18" fmla="*/ 7615 w 51333"/>
                  <a:gd name="connsiteY18" fmla="*/ 7631 h 59635"/>
                  <a:gd name="connsiteX19" fmla="*/ 16077 w 51333"/>
                  <a:gd name="connsiteY19" fmla="*/ 1978 h 59635"/>
                  <a:gd name="connsiteX20" fmla="*/ 26513 w 51333"/>
                  <a:gd name="connsiteY20" fmla="*/ 0 h 59635"/>
                  <a:gd name="connsiteX21" fmla="*/ 44564 w 51333"/>
                  <a:gd name="connsiteY21" fmla="*/ 7349 h 59635"/>
                  <a:gd name="connsiteX22" fmla="*/ 51333 w 51333"/>
                  <a:gd name="connsiteY22" fmla="*/ 27698 h 59635"/>
                  <a:gd name="connsiteX23" fmla="*/ 51333 w 51333"/>
                  <a:gd name="connsiteY23" fmla="*/ 31372 h 5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51333" h="59635">
                    <a:moveTo>
                      <a:pt x="26513" y="7914"/>
                    </a:moveTo>
                    <a:cubicBezTo>
                      <a:pt x="22000" y="7914"/>
                      <a:pt x="18333" y="9327"/>
                      <a:pt x="15513" y="12153"/>
                    </a:cubicBezTo>
                    <a:cubicBezTo>
                      <a:pt x="12410" y="14980"/>
                      <a:pt x="10718" y="18654"/>
                      <a:pt x="9872" y="23176"/>
                    </a:cubicBezTo>
                    <a:lnTo>
                      <a:pt x="42026" y="23176"/>
                    </a:lnTo>
                    <a:cubicBezTo>
                      <a:pt x="41744" y="18654"/>
                      <a:pt x="40333" y="14980"/>
                      <a:pt x="38077" y="12153"/>
                    </a:cubicBezTo>
                    <a:cubicBezTo>
                      <a:pt x="35256" y="9327"/>
                      <a:pt x="31590" y="7914"/>
                      <a:pt x="26513" y="7914"/>
                    </a:cubicBezTo>
                    <a:moveTo>
                      <a:pt x="51333" y="31372"/>
                    </a:moveTo>
                    <a:lnTo>
                      <a:pt x="9590" y="31372"/>
                    </a:lnTo>
                    <a:cubicBezTo>
                      <a:pt x="9872" y="37873"/>
                      <a:pt x="11564" y="42678"/>
                      <a:pt x="14949" y="46069"/>
                    </a:cubicBezTo>
                    <a:cubicBezTo>
                      <a:pt x="18051" y="49461"/>
                      <a:pt x="22282" y="51157"/>
                      <a:pt x="27077" y="51157"/>
                    </a:cubicBezTo>
                    <a:cubicBezTo>
                      <a:pt x="31590" y="51157"/>
                      <a:pt x="34974" y="50026"/>
                      <a:pt x="37513" y="48048"/>
                    </a:cubicBezTo>
                    <a:cubicBezTo>
                      <a:pt x="40051" y="46069"/>
                      <a:pt x="41462" y="43526"/>
                      <a:pt x="42308" y="40699"/>
                    </a:cubicBezTo>
                    <a:lnTo>
                      <a:pt x="51333" y="42395"/>
                    </a:lnTo>
                    <a:cubicBezTo>
                      <a:pt x="49923" y="47765"/>
                      <a:pt x="47103" y="52005"/>
                      <a:pt x="42872" y="55114"/>
                    </a:cubicBezTo>
                    <a:cubicBezTo>
                      <a:pt x="38641" y="58223"/>
                      <a:pt x="33282" y="59636"/>
                      <a:pt x="26795" y="59636"/>
                    </a:cubicBezTo>
                    <a:cubicBezTo>
                      <a:pt x="18615" y="59636"/>
                      <a:pt x="12128" y="57092"/>
                      <a:pt x="7333" y="51722"/>
                    </a:cubicBezTo>
                    <a:cubicBezTo>
                      <a:pt x="2538" y="46352"/>
                      <a:pt x="0" y="39004"/>
                      <a:pt x="0" y="29677"/>
                    </a:cubicBezTo>
                    <a:cubicBezTo>
                      <a:pt x="0" y="24872"/>
                      <a:pt x="564" y="20632"/>
                      <a:pt x="1974" y="16958"/>
                    </a:cubicBezTo>
                    <a:cubicBezTo>
                      <a:pt x="3385" y="13284"/>
                      <a:pt x="5359" y="10175"/>
                      <a:pt x="7615" y="7631"/>
                    </a:cubicBezTo>
                    <a:cubicBezTo>
                      <a:pt x="9872" y="5087"/>
                      <a:pt x="12974" y="3109"/>
                      <a:pt x="16077" y="1978"/>
                    </a:cubicBezTo>
                    <a:cubicBezTo>
                      <a:pt x="19462" y="565"/>
                      <a:pt x="22846" y="0"/>
                      <a:pt x="26513" y="0"/>
                    </a:cubicBezTo>
                    <a:cubicBezTo>
                      <a:pt x="34128" y="0"/>
                      <a:pt x="40051" y="2544"/>
                      <a:pt x="44564" y="7349"/>
                    </a:cubicBezTo>
                    <a:cubicBezTo>
                      <a:pt x="49077" y="12153"/>
                      <a:pt x="51333" y="18937"/>
                      <a:pt x="51333" y="27698"/>
                    </a:cubicBezTo>
                    <a:lnTo>
                      <a:pt x="51333" y="31372"/>
                    </a:lnTo>
                    <a:close/>
                  </a:path>
                </a:pathLst>
              </a:custGeom>
              <a:solidFill>
                <a:srgbClr val="7F8183"/>
              </a:solidFill>
              <a:ln w="27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RU"/>
              </a:p>
            </p:txBody>
          </p:sp>
        </p:grp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662245DA-09BF-0D40-B5B8-6858F4AEEA37}"/>
                </a:ext>
              </a:extLst>
            </p:cNvPr>
            <p:cNvSpPr/>
            <p:nvPr/>
          </p:nvSpPr>
          <p:spPr>
            <a:xfrm>
              <a:off x="1396901" y="6058612"/>
              <a:ext cx="75307" cy="57374"/>
            </a:xfrm>
            <a:custGeom>
              <a:avLst/>
              <a:gdLst>
                <a:gd name="connsiteX0" fmla="*/ 75308 w 75307"/>
                <a:gd name="connsiteY0" fmla="*/ 0 h 57374"/>
                <a:gd name="connsiteX1" fmla="*/ 75308 w 75307"/>
                <a:gd name="connsiteY1" fmla="*/ 57375 h 57374"/>
                <a:gd name="connsiteX2" fmla="*/ 0 w 75307"/>
                <a:gd name="connsiteY2" fmla="*/ 57375 h 57374"/>
                <a:gd name="connsiteX3" fmla="*/ 0 w 75307"/>
                <a:gd name="connsiteY3" fmla="*/ 0 h 57374"/>
                <a:gd name="connsiteX4" fmla="*/ 9308 w 75307"/>
                <a:gd name="connsiteY4" fmla="*/ 0 h 57374"/>
                <a:gd name="connsiteX5" fmla="*/ 9308 w 75307"/>
                <a:gd name="connsiteY5" fmla="*/ 48613 h 57374"/>
                <a:gd name="connsiteX6" fmla="*/ 32718 w 75307"/>
                <a:gd name="connsiteY6" fmla="*/ 48613 h 57374"/>
                <a:gd name="connsiteX7" fmla="*/ 32718 w 75307"/>
                <a:gd name="connsiteY7" fmla="*/ 0 h 57374"/>
                <a:gd name="connsiteX8" fmla="*/ 42308 w 75307"/>
                <a:gd name="connsiteY8" fmla="*/ 0 h 57374"/>
                <a:gd name="connsiteX9" fmla="*/ 42308 w 75307"/>
                <a:gd name="connsiteY9" fmla="*/ 48613 h 57374"/>
                <a:gd name="connsiteX10" fmla="*/ 65718 w 75307"/>
                <a:gd name="connsiteY10" fmla="*/ 48613 h 57374"/>
                <a:gd name="connsiteX11" fmla="*/ 65718 w 75307"/>
                <a:gd name="connsiteY11" fmla="*/ 0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5307" h="57374">
                  <a:moveTo>
                    <a:pt x="75308" y="0"/>
                  </a:moveTo>
                  <a:lnTo>
                    <a:pt x="75308" y="57375"/>
                  </a:lnTo>
                  <a:lnTo>
                    <a:pt x="0" y="57375"/>
                  </a:lnTo>
                  <a:lnTo>
                    <a:pt x="0" y="0"/>
                  </a:lnTo>
                  <a:lnTo>
                    <a:pt x="9308" y="0"/>
                  </a:lnTo>
                  <a:lnTo>
                    <a:pt x="9308" y="48613"/>
                  </a:lnTo>
                  <a:lnTo>
                    <a:pt x="32718" y="48613"/>
                  </a:lnTo>
                  <a:lnTo>
                    <a:pt x="32718" y="0"/>
                  </a:lnTo>
                  <a:lnTo>
                    <a:pt x="42308" y="0"/>
                  </a:lnTo>
                  <a:lnTo>
                    <a:pt x="42308" y="48613"/>
                  </a:lnTo>
                  <a:lnTo>
                    <a:pt x="65718" y="48613"/>
                  </a:lnTo>
                  <a:lnTo>
                    <a:pt x="65718" y="0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8EE32939-128C-A04C-8F2B-03BD54544DBA}"/>
                </a:ext>
              </a:extLst>
            </p:cNvPr>
            <p:cNvSpPr/>
            <p:nvPr/>
          </p:nvSpPr>
          <p:spPr>
            <a:xfrm>
              <a:off x="1486311" y="6057764"/>
              <a:ext cx="51333" cy="59635"/>
            </a:xfrm>
            <a:custGeom>
              <a:avLst/>
              <a:gdLst>
                <a:gd name="connsiteX0" fmla="*/ 26513 w 51333"/>
                <a:gd name="connsiteY0" fmla="*/ 7914 h 59635"/>
                <a:gd name="connsiteX1" fmla="*/ 15513 w 51333"/>
                <a:gd name="connsiteY1" fmla="*/ 12153 h 59635"/>
                <a:gd name="connsiteX2" fmla="*/ 9872 w 51333"/>
                <a:gd name="connsiteY2" fmla="*/ 23176 h 59635"/>
                <a:gd name="connsiteX3" fmla="*/ 41744 w 51333"/>
                <a:gd name="connsiteY3" fmla="*/ 23176 h 59635"/>
                <a:gd name="connsiteX4" fmla="*/ 37795 w 51333"/>
                <a:gd name="connsiteY4" fmla="*/ 12153 h 59635"/>
                <a:gd name="connsiteX5" fmla="*/ 26513 w 51333"/>
                <a:gd name="connsiteY5" fmla="*/ 7914 h 59635"/>
                <a:gd name="connsiteX6" fmla="*/ 51333 w 51333"/>
                <a:gd name="connsiteY6" fmla="*/ 31372 h 59635"/>
                <a:gd name="connsiteX7" fmla="*/ 9590 w 51333"/>
                <a:gd name="connsiteY7" fmla="*/ 31372 h 59635"/>
                <a:gd name="connsiteX8" fmla="*/ 14949 w 51333"/>
                <a:gd name="connsiteY8" fmla="*/ 46069 h 59635"/>
                <a:gd name="connsiteX9" fmla="*/ 27077 w 51333"/>
                <a:gd name="connsiteY9" fmla="*/ 51157 h 59635"/>
                <a:gd name="connsiteX10" fmla="*/ 37513 w 51333"/>
                <a:gd name="connsiteY10" fmla="*/ 48048 h 59635"/>
                <a:gd name="connsiteX11" fmla="*/ 42308 w 51333"/>
                <a:gd name="connsiteY11" fmla="*/ 40699 h 59635"/>
                <a:gd name="connsiteX12" fmla="*/ 51333 w 51333"/>
                <a:gd name="connsiteY12" fmla="*/ 42395 h 59635"/>
                <a:gd name="connsiteX13" fmla="*/ 42872 w 51333"/>
                <a:gd name="connsiteY13" fmla="*/ 55114 h 59635"/>
                <a:gd name="connsiteX14" fmla="*/ 26795 w 51333"/>
                <a:gd name="connsiteY14" fmla="*/ 59636 h 59635"/>
                <a:gd name="connsiteX15" fmla="*/ 7333 w 51333"/>
                <a:gd name="connsiteY15" fmla="*/ 51722 h 59635"/>
                <a:gd name="connsiteX16" fmla="*/ 0 w 51333"/>
                <a:gd name="connsiteY16" fmla="*/ 29677 h 59635"/>
                <a:gd name="connsiteX17" fmla="*/ 1974 w 51333"/>
                <a:gd name="connsiteY17" fmla="*/ 16958 h 59635"/>
                <a:gd name="connsiteX18" fmla="*/ 7615 w 51333"/>
                <a:gd name="connsiteY18" fmla="*/ 7631 h 59635"/>
                <a:gd name="connsiteX19" fmla="*/ 16077 w 51333"/>
                <a:gd name="connsiteY19" fmla="*/ 1978 h 59635"/>
                <a:gd name="connsiteX20" fmla="*/ 26513 w 51333"/>
                <a:gd name="connsiteY20" fmla="*/ 0 h 59635"/>
                <a:gd name="connsiteX21" fmla="*/ 44564 w 51333"/>
                <a:gd name="connsiteY21" fmla="*/ 7349 h 59635"/>
                <a:gd name="connsiteX22" fmla="*/ 51333 w 51333"/>
                <a:gd name="connsiteY22" fmla="*/ 27698 h 59635"/>
                <a:gd name="connsiteX23" fmla="*/ 51333 w 51333"/>
                <a:gd name="connsiteY23" fmla="*/ 31372 h 596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1333" h="59635">
                  <a:moveTo>
                    <a:pt x="26513" y="7914"/>
                  </a:moveTo>
                  <a:cubicBezTo>
                    <a:pt x="22000" y="7914"/>
                    <a:pt x="18333" y="9327"/>
                    <a:pt x="15513" y="12153"/>
                  </a:cubicBezTo>
                  <a:cubicBezTo>
                    <a:pt x="12410" y="14980"/>
                    <a:pt x="10718" y="18654"/>
                    <a:pt x="9872" y="23176"/>
                  </a:cubicBezTo>
                  <a:lnTo>
                    <a:pt x="41744" y="23176"/>
                  </a:lnTo>
                  <a:cubicBezTo>
                    <a:pt x="41462" y="18654"/>
                    <a:pt x="40051" y="14980"/>
                    <a:pt x="37795" y="12153"/>
                  </a:cubicBezTo>
                  <a:cubicBezTo>
                    <a:pt x="35256" y="9327"/>
                    <a:pt x="31590" y="7914"/>
                    <a:pt x="26513" y="7914"/>
                  </a:cubicBezTo>
                  <a:moveTo>
                    <a:pt x="51333" y="31372"/>
                  </a:moveTo>
                  <a:lnTo>
                    <a:pt x="9590" y="31372"/>
                  </a:lnTo>
                  <a:cubicBezTo>
                    <a:pt x="9872" y="37873"/>
                    <a:pt x="11564" y="42678"/>
                    <a:pt x="14949" y="46069"/>
                  </a:cubicBezTo>
                  <a:cubicBezTo>
                    <a:pt x="18051" y="49461"/>
                    <a:pt x="22282" y="51157"/>
                    <a:pt x="27077" y="51157"/>
                  </a:cubicBezTo>
                  <a:cubicBezTo>
                    <a:pt x="31590" y="51157"/>
                    <a:pt x="34974" y="50026"/>
                    <a:pt x="37513" y="48048"/>
                  </a:cubicBezTo>
                  <a:cubicBezTo>
                    <a:pt x="40051" y="46069"/>
                    <a:pt x="41462" y="43526"/>
                    <a:pt x="42308" y="40699"/>
                  </a:cubicBezTo>
                  <a:lnTo>
                    <a:pt x="51333" y="42395"/>
                  </a:lnTo>
                  <a:cubicBezTo>
                    <a:pt x="49923" y="47765"/>
                    <a:pt x="47103" y="52005"/>
                    <a:pt x="42872" y="55114"/>
                  </a:cubicBezTo>
                  <a:cubicBezTo>
                    <a:pt x="38641" y="58223"/>
                    <a:pt x="33282" y="59636"/>
                    <a:pt x="26795" y="59636"/>
                  </a:cubicBezTo>
                  <a:cubicBezTo>
                    <a:pt x="18615" y="59636"/>
                    <a:pt x="12128" y="57092"/>
                    <a:pt x="7333" y="51722"/>
                  </a:cubicBezTo>
                  <a:cubicBezTo>
                    <a:pt x="2538" y="46352"/>
                    <a:pt x="0" y="39004"/>
                    <a:pt x="0" y="29677"/>
                  </a:cubicBezTo>
                  <a:cubicBezTo>
                    <a:pt x="0" y="24872"/>
                    <a:pt x="564" y="20632"/>
                    <a:pt x="1974" y="16958"/>
                  </a:cubicBezTo>
                  <a:cubicBezTo>
                    <a:pt x="3385" y="13284"/>
                    <a:pt x="5359" y="10175"/>
                    <a:pt x="7615" y="7631"/>
                  </a:cubicBezTo>
                  <a:cubicBezTo>
                    <a:pt x="9872" y="5087"/>
                    <a:pt x="12974" y="3109"/>
                    <a:pt x="16077" y="1978"/>
                  </a:cubicBezTo>
                  <a:cubicBezTo>
                    <a:pt x="19462" y="565"/>
                    <a:pt x="22846" y="0"/>
                    <a:pt x="26513" y="0"/>
                  </a:cubicBezTo>
                  <a:cubicBezTo>
                    <a:pt x="34128" y="0"/>
                    <a:pt x="40051" y="2544"/>
                    <a:pt x="44564" y="7349"/>
                  </a:cubicBezTo>
                  <a:cubicBezTo>
                    <a:pt x="49077" y="12153"/>
                    <a:pt x="51333" y="18937"/>
                    <a:pt x="51333" y="27698"/>
                  </a:cubicBezTo>
                  <a:lnTo>
                    <a:pt x="51333" y="31372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96A39E2E-C03C-5343-AA11-E77BC8EC94E4}"/>
                </a:ext>
              </a:extLst>
            </p:cNvPr>
            <p:cNvSpPr/>
            <p:nvPr/>
          </p:nvSpPr>
          <p:spPr>
            <a:xfrm>
              <a:off x="1551747" y="6058612"/>
              <a:ext cx="49076" cy="57374"/>
            </a:xfrm>
            <a:custGeom>
              <a:avLst/>
              <a:gdLst>
                <a:gd name="connsiteX0" fmla="*/ 0 w 49076"/>
                <a:gd name="connsiteY0" fmla="*/ 57375 h 57374"/>
                <a:gd name="connsiteX1" fmla="*/ 0 w 49076"/>
                <a:gd name="connsiteY1" fmla="*/ 0 h 57374"/>
                <a:gd name="connsiteX2" fmla="*/ 9308 w 49076"/>
                <a:gd name="connsiteY2" fmla="*/ 0 h 57374"/>
                <a:gd name="connsiteX3" fmla="*/ 9308 w 49076"/>
                <a:gd name="connsiteY3" fmla="*/ 23459 h 57374"/>
                <a:gd name="connsiteX4" fmla="*/ 39769 w 49076"/>
                <a:gd name="connsiteY4" fmla="*/ 23459 h 57374"/>
                <a:gd name="connsiteX5" fmla="*/ 39769 w 49076"/>
                <a:gd name="connsiteY5" fmla="*/ 0 h 57374"/>
                <a:gd name="connsiteX6" fmla="*/ 49077 w 49076"/>
                <a:gd name="connsiteY6" fmla="*/ 0 h 57374"/>
                <a:gd name="connsiteX7" fmla="*/ 49077 w 49076"/>
                <a:gd name="connsiteY7" fmla="*/ 57375 h 57374"/>
                <a:gd name="connsiteX8" fmla="*/ 39769 w 49076"/>
                <a:gd name="connsiteY8" fmla="*/ 57375 h 57374"/>
                <a:gd name="connsiteX9" fmla="*/ 39769 w 49076"/>
                <a:gd name="connsiteY9" fmla="*/ 32503 h 57374"/>
                <a:gd name="connsiteX10" fmla="*/ 9308 w 49076"/>
                <a:gd name="connsiteY10" fmla="*/ 32503 h 57374"/>
                <a:gd name="connsiteX11" fmla="*/ 9308 w 49076"/>
                <a:gd name="connsiteY11" fmla="*/ 57375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076" h="57374">
                  <a:moveTo>
                    <a:pt x="0" y="57375"/>
                  </a:moveTo>
                  <a:lnTo>
                    <a:pt x="0" y="0"/>
                  </a:lnTo>
                  <a:lnTo>
                    <a:pt x="9308" y="0"/>
                  </a:lnTo>
                  <a:lnTo>
                    <a:pt x="9308" y="23459"/>
                  </a:lnTo>
                  <a:lnTo>
                    <a:pt x="39769" y="23459"/>
                  </a:lnTo>
                  <a:lnTo>
                    <a:pt x="39769" y="0"/>
                  </a:lnTo>
                  <a:lnTo>
                    <a:pt x="49077" y="0"/>
                  </a:lnTo>
                  <a:lnTo>
                    <a:pt x="49077" y="57375"/>
                  </a:lnTo>
                  <a:lnTo>
                    <a:pt x="39769" y="57375"/>
                  </a:lnTo>
                  <a:lnTo>
                    <a:pt x="39769" y="32503"/>
                  </a:lnTo>
                  <a:lnTo>
                    <a:pt x="9308" y="32503"/>
                  </a:lnTo>
                  <a:lnTo>
                    <a:pt x="9308" y="57375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2FEF830E-047D-F44F-BD4C-7111A03A4967}"/>
                </a:ext>
              </a:extLst>
            </p:cNvPr>
            <p:cNvSpPr/>
            <p:nvPr/>
          </p:nvSpPr>
          <p:spPr>
            <a:xfrm>
              <a:off x="1618875" y="6058612"/>
              <a:ext cx="47948" cy="57374"/>
            </a:xfrm>
            <a:custGeom>
              <a:avLst/>
              <a:gdLst>
                <a:gd name="connsiteX0" fmla="*/ 10154 w 47948"/>
                <a:gd name="connsiteY0" fmla="*/ 57375 h 57374"/>
                <a:gd name="connsiteX1" fmla="*/ 0 w 47948"/>
                <a:gd name="connsiteY1" fmla="*/ 57375 h 57374"/>
                <a:gd name="connsiteX2" fmla="*/ 0 w 47948"/>
                <a:gd name="connsiteY2" fmla="*/ 0 h 57374"/>
                <a:gd name="connsiteX3" fmla="*/ 9026 w 47948"/>
                <a:gd name="connsiteY3" fmla="*/ 0 h 57374"/>
                <a:gd name="connsiteX4" fmla="*/ 9026 w 47948"/>
                <a:gd name="connsiteY4" fmla="*/ 44939 h 57374"/>
                <a:gd name="connsiteX5" fmla="*/ 37513 w 47948"/>
                <a:gd name="connsiteY5" fmla="*/ 0 h 57374"/>
                <a:gd name="connsiteX6" fmla="*/ 47949 w 47948"/>
                <a:gd name="connsiteY6" fmla="*/ 0 h 57374"/>
                <a:gd name="connsiteX7" fmla="*/ 47949 w 47948"/>
                <a:gd name="connsiteY7" fmla="*/ 57375 h 57374"/>
                <a:gd name="connsiteX8" fmla="*/ 38923 w 47948"/>
                <a:gd name="connsiteY8" fmla="*/ 57375 h 57374"/>
                <a:gd name="connsiteX9" fmla="*/ 38923 w 47948"/>
                <a:gd name="connsiteY9" fmla="*/ 12153 h 57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948" h="57374">
                  <a:moveTo>
                    <a:pt x="10154" y="57375"/>
                  </a:moveTo>
                  <a:lnTo>
                    <a:pt x="0" y="57375"/>
                  </a:lnTo>
                  <a:lnTo>
                    <a:pt x="0" y="0"/>
                  </a:lnTo>
                  <a:lnTo>
                    <a:pt x="9026" y="0"/>
                  </a:lnTo>
                  <a:lnTo>
                    <a:pt x="9026" y="44939"/>
                  </a:lnTo>
                  <a:lnTo>
                    <a:pt x="37513" y="0"/>
                  </a:lnTo>
                  <a:lnTo>
                    <a:pt x="47949" y="0"/>
                  </a:lnTo>
                  <a:lnTo>
                    <a:pt x="47949" y="57375"/>
                  </a:lnTo>
                  <a:lnTo>
                    <a:pt x="38923" y="57375"/>
                  </a:lnTo>
                  <a:lnTo>
                    <a:pt x="38923" y="12153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34DED5D-3D96-084B-84A2-FB271F0EB689}"/>
                </a:ext>
              </a:extLst>
            </p:cNvPr>
            <p:cNvSpPr/>
            <p:nvPr/>
          </p:nvSpPr>
          <p:spPr>
            <a:xfrm>
              <a:off x="1684875" y="6036849"/>
              <a:ext cx="48230" cy="79137"/>
            </a:xfrm>
            <a:custGeom>
              <a:avLst/>
              <a:gdLst>
                <a:gd name="connsiteX0" fmla="*/ 24256 w 48230"/>
                <a:gd name="connsiteY0" fmla="*/ 15545 h 79137"/>
                <a:gd name="connsiteX1" fmla="*/ 11282 w 48230"/>
                <a:gd name="connsiteY1" fmla="*/ 11305 h 79137"/>
                <a:gd name="connsiteX2" fmla="*/ 7051 w 48230"/>
                <a:gd name="connsiteY2" fmla="*/ 0 h 79137"/>
                <a:gd name="connsiteX3" fmla="*/ 14949 w 48230"/>
                <a:gd name="connsiteY3" fmla="*/ 0 h 79137"/>
                <a:gd name="connsiteX4" fmla="*/ 17487 w 48230"/>
                <a:gd name="connsiteY4" fmla="*/ 6218 h 79137"/>
                <a:gd name="connsiteX5" fmla="*/ 23974 w 48230"/>
                <a:gd name="connsiteY5" fmla="*/ 8479 h 79137"/>
                <a:gd name="connsiteX6" fmla="*/ 30462 w 48230"/>
                <a:gd name="connsiteY6" fmla="*/ 6218 h 79137"/>
                <a:gd name="connsiteX7" fmla="*/ 33000 w 48230"/>
                <a:gd name="connsiteY7" fmla="*/ 0 h 79137"/>
                <a:gd name="connsiteX8" fmla="*/ 40897 w 48230"/>
                <a:gd name="connsiteY8" fmla="*/ 0 h 79137"/>
                <a:gd name="connsiteX9" fmla="*/ 36667 w 48230"/>
                <a:gd name="connsiteY9" fmla="*/ 11305 h 79137"/>
                <a:gd name="connsiteX10" fmla="*/ 24256 w 48230"/>
                <a:gd name="connsiteY10" fmla="*/ 15545 h 79137"/>
                <a:gd name="connsiteX11" fmla="*/ 10154 w 48230"/>
                <a:gd name="connsiteY11" fmla="*/ 79138 h 79137"/>
                <a:gd name="connsiteX12" fmla="*/ 0 w 48230"/>
                <a:gd name="connsiteY12" fmla="*/ 79138 h 79137"/>
                <a:gd name="connsiteX13" fmla="*/ 0 w 48230"/>
                <a:gd name="connsiteY13" fmla="*/ 21763 h 79137"/>
                <a:gd name="connsiteX14" fmla="*/ 9308 w 48230"/>
                <a:gd name="connsiteY14" fmla="*/ 21763 h 79137"/>
                <a:gd name="connsiteX15" fmla="*/ 9308 w 48230"/>
                <a:gd name="connsiteY15" fmla="*/ 66702 h 79137"/>
                <a:gd name="connsiteX16" fmla="*/ 37795 w 48230"/>
                <a:gd name="connsiteY16" fmla="*/ 21763 h 79137"/>
                <a:gd name="connsiteX17" fmla="*/ 48231 w 48230"/>
                <a:gd name="connsiteY17" fmla="*/ 21763 h 79137"/>
                <a:gd name="connsiteX18" fmla="*/ 48231 w 48230"/>
                <a:gd name="connsiteY18" fmla="*/ 79138 h 79137"/>
                <a:gd name="connsiteX19" fmla="*/ 38923 w 48230"/>
                <a:gd name="connsiteY19" fmla="*/ 79138 h 79137"/>
                <a:gd name="connsiteX20" fmla="*/ 38923 w 48230"/>
                <a:gd name="connsiteY20" fmla="*/ 33916 h 79137"/>
                <a:gd name="connsiteX21" fmla="*/ 10154 w 48230"/>
                <a:gd name="connsiteY21" fmla="*/ 79138 h 7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8230" h="79137">
                  <a:moveTo>
                    <a:pt x="24256" y="15545"/>
                  </a:moveTo>
                  <a:cubicBezTo>
                    <a:pt x="18333" y="15545"/>
                    <a:pt x="14103" y="14132"/>
                    <a:pt x="11282" y="11305"/>
                  </a:cubicBezTo>
                  <a:cubicBezTo>
                    <a:pt x="8462" y="8479"/>
                    <a:pt x="7051" y="4805"/>
                    <a:pt x="7051" y="0"/>
                  </a:cubicBezTo>
                  <a:lnTo>
                    <a:pt x="14949" y="0"/>
                  </a:lnTo>
                  <a:cubicBezTo>
                    <a:pt x="15231" y="2544"/>
                    <a:pt x="16077" y="4805"/>
                    <a:pt x="17487" y="6218"/>
                  </a:cubicBezTo>
                  <a:cubicBezTo>
                    <a:pt x="18897" y="7631"/>
                    <a:pt x="21154" y="8479"/>
                    <a:pt x="23974" y="8479"/>
                  </a:cubicBezTo>
                  <a:cubicBezTo>
                    <a:pt x="26795" y="8479"/>
                    <a:pt x="29051" y="7631"/>
                    <a:pt x="30462" y="6218"/>
                  </a:cubicBezTo>
                  <a:cubicBezTo>
                    <a:pt x="31872" y="4805"/>
                    <a:pt x="32718" y="2544"/>
                    <a:pt x="33000" y="0"/>
                  </a:cubicBezTo>
                  <a:lnTo>
                    <a:pt x="40897" y="0"/>
                  </a:lnTo>
                  <a:cubicBezTo>
                    <a:pt x="40615" y="4522"/>
                    <a:pt x="39205" y="8196"/>
                    <a:pt x="36667" y="11305"/>
                  </a:cubicBezTo>
                  <a:cubicBezTo>
                    <a:pt x="34128" y="14132"/>
                    <a:pt x="29897" y="15545"/>
                    <a:pt x="24256" y="15545"/>
                  </a:cubicBezTo>
                  <a:moveTo>
                    <a:pt x="10154" y="79138"/>
                  </a:moveTo>
                  <a:lnTo>
                    <a:pt x="0" y="79138"/>
                  </a:lnTo>
                  <a:lnTo>
                    <a:pt x="0" y="21763"/>
                  </a:lnTo>
                  <a:lnTo>
                    <a:pt x="9308" y="21763"/>
                  </a:lnTo>
                  <a:lnTo>
                    <a:pt x="9308" y="66702"/>
                  </a:lnTo>
                  <a:lnTo>
                    <a:pt x="37795" y="21763"/>
                  </a:lnTo>
                  <a:lnTo>
                    <a:pt x="48231" y="21763"/>
                  </a:lnTo>
                  <a:lnTo>
                    <a:pt x="48231" y="79138"/>
                  </a:lnTo>
                  <a:lnTo>
                    <a:pt x="38923" y="79138"/>
                  </a:lnTo>
                  <a:lnTo>
                    <a:pt x="38923" y="33916"/>
                  </a:lnTo>
                  <a:lnTo>
                    <a:pt x="10154" y="79138"/>
                  </a:lnTo>
                  <a:close/>
                </a:path>
              </a:pathLst>
            </a:custGeom>
            <a:solidFill>
              <a:srgbClr val="7F8183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7D18C1D5-F984-8B4E-A0BF-38700579D3AC}"/>
                </a:ext>
              </a:extLst>
            </p:cNvPr>
            <p:cNvSpPr/>
            <p:nvPr/>
          </p:nvSpPr>
          <p:spPr>
            <a:xfrm>
              <a:off x="1260952" y="5466493"/>
              <a:ext cx="483718" cy="255784"/>
            </a:xfrm>
            <a:custGeom>
              <a:avLst/>
              <a:gdLst>
                <a:gd name="connsiteX0" fmla="*/ 483718 w 483718"/>
                <a:gd name="connsiteY0" fmla="*/ 0 h 255784"/>
                <a:gd name="connsiteX1" fmla="*/ 0 w 483718"/>
                <a:gd name="connsiteY1" fmla="*/ 212541 h 255784"/>
                <a:gd name="connsiteX2" fmla="*/ 0 w 483718"/>
                <a:gd name="connsiteY2" fmla="*/ 255784 h 255784"/>
                <a:gd name="connsiteX3" fmla="*/ 483718 w 483718"/>
                <a:gd name="connsiteY3" fmla="*/ 43243 h 255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3718" h="255784">
                  <a:moveTo>
                    <a:pt x="483718" y="0"/>
                  </a:moveTo>
                  <a:lnTo>
                    <a:pt x="0" y="212541"/>
                  </a:lnTo>
                  <a:lnTo>
                    <a:pt x="0" y="255784"/>
                  </a:lnTo>
                  <a:lnTo>
                    <a:pt x="483718" y="43243"/>
                  </a:lnTo>
                  <a:close/>
                </a:path>
              </a:pathLst>
            </a:custGeom>
            <a:solidFill>
              <a:srgbClr val="E22B26"/>
            </a:solidFill>
            <a:ln w="279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RU"/>
            </a:p>
          </p:txBody>
        </p:sp>
      </p:grp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8B11A7-F13B-A341-B3D6-5CBDA7491E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21057" y="5456641"/>
            <a:ext cx="1768431" cy="953112"/>
          </a:xfrm>
          <a:prstGeom prst="rect">
            <a:avLst/>
          </a:prstGeom>
        </p:spPr>
        <p:txBody>
          <a:bodyPr/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buFontTx/>
              <a:buNone/>
              <a:defRPr lang="en-GB" sz="1000" b="0" i="0" kern="1200" dirty="0" smtClean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</a:lstStyle>
          <a:p>
            <a:pPr lvl="0"/>
            <a:r>
              <a:rPr lang="en-GB" dirty="0"/>
              <a:t>(495) 231-77-71</a:t>
            </a:r>
          </a:p>
          <a:p>
            <a:pPr lvl="0"/>
            <a:r>
              <a:rPr lang="en-GB" dirty="0" err="1"/>
              <a:t>press@omk.ru</a:t>
            </a:r>
            <a:endParaRPr lang="en-GB" dirty="0"/>
          </a:p>
          <a:p>
            <a:pPr lvl="0"/>
            <a:r>
              <a:rPr lang="en-GB" dirty="0" err="1"/>
              <a:t>www.omk.r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31530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6" y="258006"/>
            <a:ext cx="3790683" cy="1098030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04811" y="258008"/>
            <a:ext cx="6441160" cy="5530650"/>
          </a:xfrm>
        </p:spPr>
        <p:txBody>
          <a:bodyPr/>
          <a:lstStyle>
            <a:lvl1pPr>
              <a:defRPr sz="4000"/>
            </a:lvl1pPr>
            <a:lvl2pPr>
              <a:defRPr sz="3500"/>
            </a:lvl2pPr>
            <a:lvl3pPr>
              <a:defRPr sz="30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06" y="1356038"/>
            <a:ext cx="3790683" cy="4432620"/>
          </a:xfrm>
        </p:spPr>
        <p:txBody>
          <a:bodyPr/>
          <a:lstStyle>
            <a:lvl1pPr marL="0" indent="0">
              <a:buNone/>
              <a:defRPr sz="1800"/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4156" y="2013055"/>
            <a:ext cx="9793764" cy="13890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28312" y="3672099"/>
            <a:ext cx="8065453" cy="165604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75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19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7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38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797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5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1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76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58843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40270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4"/>
            <a:ext cx="9793764" cy="1287034"/>
          </a:xfrm>
        </p:spPr>
        <p:txBody>
          <a:bodyPr anchor="t"/>
          <a:lstStyle>
            <a:lvl1pPr algn="l">
              <a:defRPr sz="49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76"/>
            <a:ext cx="9793764" cy="1417537"/>
          </a:xfrm>
        </p:spPr>
        <p:txBody>
          <a:bodyPr anchor="b"/>
          <a:lstStyle>
            <a:lvl1pPr marL="0" indent="0">
              <a:buNone/>
              <a:defRPr sz="2499">
                <a:solidFill>
                  <a:schemeClr val="tx1">
                    <a:tint val="75000"/>
                  </a:schemeClr>
                </a:solidFill>
              </a:defRPr>
            </a:lvl1pPr>
            <a:lvl2pPr marL="57595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5191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3pPr>
            <a:lvl4pPr marL="17278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0382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87978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45573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03169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6076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35256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76104" y="1512042"/>
            <a:ext cx="5088916" cy="4276616"/>
          </a:xfrm>
        </p:spPr>
        <p:txBody>
          <a:bodyPr/>
          <a:lstStyle>
            <a:lvl1pPr>
              <a:defRPr sz="3499"/>
            </a:lvl1pPr>
            <a:lvl2pPr>
              <a:defRPr sz="2999"/>
            </a:lvl2pPr>
            <a:lvl3pPr>
              <a:defRPr sz="2499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857055" y="1512042"/>
            <a:ext cx="5088916" cy="4276616"/>
          </a:xfrm>
        </p:spPr>
        <p:txBody>
          <a:bodyPr/>
          <a:lstStyle>
            <a:lvl1pPr>
              <a:defRPr sz="3499"/>
            </a:lvl1pPr>
            <a:lvl2pPr>
              <a:defRPr sz="2999"/>
            </a:lvl2pPr>
            <a:lvl3pPr>
              <a:defRPr sz="2499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28319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5" y="1450540"/>
            <a:ext cx="5090917" cy="604516"/>
          </a:xfrm>
        </p:spPr>
        <p:txBody>
          <a:bodyPr anchor="b"/>
          <a:lstStyle>
            <a:lvl1pPr marL="0" indent="0">
              <a:buNone/>
              <a:defRPr sz="2999" b="1"/>
            </a:lvl1pPr>
            <a:lvl2pPr marL="575956" indent="0">
              <a:buNone/>
              <a:defRPr sz="2499" b="1"/>
            </a:lvl2pPr>
            <a:lvl3pPr marL="1151912" indent="0">
              <a:buNone/>
              <a:defRPr sz="2300" b="1"/>
            </a:lvl3pPr>
            <a:lvl4pPr marL="1727868" indent="0">
              <a:buNone/>
              <a:defRPr sz="1999" b="1"/>
            </a:lvl4pPr>
            <a:lvl5pPr marL="2303824" indent="0">
              <a:buNone/>
              <a:defRPr sz="1999" b="1"/>
            </a:lvl5pPr>
            <a:lvl6pPr marL="2879780" indent="0">
              <a:buNone/>
              <a:defRPr sz="1999" b="1"/>
            </a:lvl6pPr>
            <a:lvl7pPr marL="3455736" indent="0">
              <a:buNone/>
              <a:defRPr sz="1999" b="1"/>
            </a:lvl7pPr>
            <a:lvl8pPr marL="4031692" indent="0">
              <a:buNone/>
              <a:defRPr sz="1999" b="1"/>
            </a:lvl8pPr>
            <a:lvl9pPr marL="4607648" indent="0">
              <a:buNone/>
              <a:defRPr sz="199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76105" y="2055056"/>
            <a:ext cx="5090917" cy="3733601"/>
          </a:xfrm>
        </p:spPr>
        <p:txBody>
          <a:bodyPr/>
          <a:lstStyle>
            <a:lvl1pPr>
              <a:defRPr sz="2999"/>
            </a:lvl1pPr>
            <a:lvl2pPr>
              <a:defRPr sz="2499"/>
            </a:lvl2pPr>
            <a:lvl3pPr>
              <a:defRPr sz="2300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57" y="1450540"/>
            <a:ext cx="5092917" cy="604516"/>
          </a:xfrm>
        </p:spPr>
        <p:txBody>
          <a:bodyPr anchor="b"/>
          <a:lstStyle>
            <a:lvl1pPr marL="0" indent="0">
              <a:buNone/>
              <a:defRPr sz="2999" b="1"/>
            </a:lvl1pPr>
            <a:lvl2pPr marL="575956" indent="0">
              <a:buNone/>
              <a:defRPr sz="2499" b="1"/>
            </a:lvl2pPr>
            <a:lvl3pPr marL="1151912" indent="0">
              <a:buNone/>
              <a:defRPr sz="2300" b="1"/>
            </a:lvl3pPr>
            <a:lvl4pPr marL="1727868" indent="0">
              <a:buNone/>
              <a:defRPr sz="1999" b="1"/>
            </a:lvl4pPr>
            <a:lvl5pPr marL="2303824" indent="0">
              <a:buNone/>
              <a:defRPr sz="1999" b="1"/>
            </a:lvl5pPr>
            <a:lvl6pPr marL="2879780" indent="0">
              <a:buNone/>
              <a:defRPr sz="1999" b="1"/>
            </a:lvl6pPr>
            <a:lvl7pPr marL="3455736" indent="0">
              <a:buNone/>
              <a:defRPr sz="1999" b="1"/>
            </a:lvl7pPr>
            <a:lvl8pPr marL="4031692" indent="0">
              <a:buNone/>
              <a:defRPr sz="1999" b="1"/>
            </a:lvl8pPr>
            <a:lvl9pPr marL="4607648" indent="0">
              <a:buNone/>
              <a:defRPr sz="1999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853057" y="2055056"/>
            <a:ext cx="5092917" cy="3733601"/>
          </a:xfrm>
        </p:spPr>
        <p:txBody>
          <a:bodyPr/>
          <a:lstStyle>
            <a:lvl1pPr>
              <a:defRPr sz="2999"/>
            </a:lvl1pPr>
            <a:lvl2pPr>
              <a:defRPr sz="2499"/>
            </a:lvl2pPr>
            <a:lvl3pPr>
              <a:defRPr sz="2300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83561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3855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483607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7" y="258006"/>
            <a:ext cx="3790683" cy="1098030"/>
          </a:xfrm>
        </p:spPr>
        <p:txBody>
          <a:bodyPr anchor="b"/>
          <a:lstStyle>
            <a:lvl1pPr algn="l">
              <a:defRPr sz="24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04812" y="258008"/>
            <a:ext cx="6441160" cy="5530650"/>
          </a:xfrm>
        </p:spPr>
        <p:txBody>
          <a:bodyPr/>
          <a:lstStyle>
            <a:lvl1pPr>
              <a:defRPr sz="3999"/>
            </a:lvl1pPr>
            <a:lvl2pPr>
              <a:defRPr sz="3499"/>
            </a:lvl2pPr>
            <a:lvl3pPr>
              <a:defRPr sz="2999"/>
            </a:lvl3pPr>
            <a:lvl4pPr>
              <a:defRPr sz="2499"/>
            </a:lvl4pPr>
            <a:lvl5pPr>
              <a:defRPr sz="2499"/>
            </a:lvl5pPr>
            <a:lvl6pPr>
              <a:defRPr sz="2499"/>
            </a:lvl6pPr>
            <a:lvl7pPr>
              <a:defRPr sz="2499"/>
            </a:lvl7pPr>
            <a:lvl8pPr>
              <a:defRPr sz="2499"/>
            </a:lvl8pPr>
            <a:lvl9pPr>
              <a:defRPr sz="24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07" y="1356038"/>
            <a:ext cx="3790683" cy="4432620"/>
          </a:xfrm>
        </p:spPr>
        <p:txBody>
          <a:bodyPr/>
          <a:lstStyle>
            <a:lvl1pPr marL="0" indent="0">
              <a:buNone/>
              <a:defRPr sz="1800"/>
            </a:lvl1pPr>
            <a:lvl2pPr marL="575956" indent="0">
              <a:buNone/>
              <a:defRPr sz="1500"/>
            </a:lvl2pPr>
            <a:lvl3pPr marL="1151912" indent="0">
              <a:buNone/>
              <a:defRPr sz="1300"/>
            </a:lvl3pPr>
            <a:lvl4pPr marL="1727868" indent="0">
              <a:buNone/>
              <a:defRPr sz="1100"/>
            </a:lvl4pPr>
            <a:lvl5pPr marL="2303824" indent="0">
              <a:buNone/>
              <a:defRPr sz="1100"/>
            </a:lvl5pPr>
            <a:lvl6pPr marL="2879780" indent="0">
              <a:buNone/>
              <a:defRPr sz="1100"/>
            </a:lvl6pPr>
            <a:lvl7pPr marL="3455736" indent="0">
              <a:buNone/>
              <a:defRPr sz="1100"/>
            </a:lvl7pPr>
            <a:lvl8pPr marL="4031692" indent="0">
              <a:buNone/>
              <a:defRPr sz="1100"/>
            </a:lvl8pPr>
            <a:lvl9pPr marL="4607648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513875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3"/>
            <a:ext cx="6913245" cy="535516"/>
          </a:xfrm>
        </p:spPr>
        <p:txBody>
          <a:bodyPr anchor="b"/>
          <a:lstStyle>
            <a:lvl1pPr algn="l">
              <a:defRPr sz="24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6"/>
            <a:ext cx="6913245" cy="3888105"/>
          </a:xfrm>
        </p:spPr>
        <p:txBody>
          <a:bodyPr/>
          <a:lstStyle>
            <a:lvl1pPr marL="0" indent="0">
              <a:buNone/>
              <a:defRPr sz="3999"/>
            </a:lvl1pPr>
            <a:lvl2pPr marL="575956" indent="0">
              <a:buNone/>
              <a:defRPr sz="3499"/>
            </a:lvl2pPr>
            <a:lvl3pPr marL="1151912" indent="0">
              <a:buNone/>
              <a:defRPr sz="2999"/>
            </a:lvl3pPr>
            <a:lvl4pPr marL="1727868" indent="0">
              <a:buNone/>
              <a:defRPr sz="2499"/>
            </a:lvl4pPr>
            <a:lvl5pPr marL="2303824" indent="0">
              <a:buNone/>
              <a:defRPr sz="2499"/>
            </a:lvl5pPr>
            <a:lvl6pPr marL="2879780" indent="0">
              <a:buNone/>
              <a:defRPr sz="2499"/>
            </a:lvl6pPr>
            <a:lvl7pPr marL="3455736" indent="0">
              <a:buNone/>
              <a:defRPr sz="2499"/>
            </a:lvl7pPr>
            <a:lvl8pPr marL="4031692" indent="0">
              <a:buNone/>
              <a:defRPr sz="2499"/>
            </a:lvl8pPr>
            <a:lvl9pPr marL="4607648" indent="0">
              <a:buNone/>
              <a:defRPr sz="24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8"/>
            <a:ext cx="6913245" cy="760521"/>
          </a:xfrm>
        </p:spPr>
        <p:txBody>
          <a:bodyPr/>
          <a:lstStyle>
            <a:lvl1pPr marL="0" indent="0">
              <a:buNone/>
              <a:defRPr sz="1800"/>
            </a:lvl1pPr>
            <a:lvl2pPr marL="575956" indent="0">
              <a:buNone/>
              <a:defRPr sz="1500"/>
            </a:lvl2pPr>
            <a:lvl3pPr marL="1151912" indent="0">
              <a:buNone/>
              <a:defRPr sz="1300"/>
            </a:lvl3pPr>
            <a:lvl4pPr marL="1727868" indent="0">
              <a:buNone/>
              <a:defRPr sz="1100"/>
            </a:lvl4pPr>
            <a:lvl5pPr marL="2303824" indent="0">
              <a:buNone/>
              <a:defRPr sz="1100"/>
            </a:lvl5pPr>
            <a:lvl6pPr marL="2879780" indent="0">
              <a:buNone/>
              <a:defRPr sz="1100"/>
            </a:lvl6pPr>
            <a:lvl7pPr marL="3455736" indent="0">
              <a:buNone/>
              <a:defRPr sz="1100"/>
            </a:lvl7pPr>
            <a:lvl8pPr marL="4031692" indent="0">
              <a:buNone/>
              <a:defRPr sz="1100"/>
            </a:lvl8pPr>
            <a:lvl9pPr marL="4607648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49269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3638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2"/>
            <a:ext cx="6913245" cy="535516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15"/>
            <a:ext cx="6913245" cy="3888105"/>
          </a:xfrm>
        </p:spPr>
        <p:txBody>
          <a:bodyPr/>
          <a:lstStyle>
            <a:lvl1pPr marL="0" indent="0">
              <a:buNone/>
              <a:defRPr sz="4000"/>
            </a:lvl1pPr>
            <a:lvl2pPr marL="576072" indent="0">
              <a:buNone/>
              <a:defRPr sz="3500"/>
            </a:lvl2pPr>
            <a:lvl3pPr marL="1152144" indent="0">
              <a:buNone/>
              <a:defRPr sz="3000"/>
            </a:lvl3pPr>
            <a:lvl4pPr marL="1728216" indent="0">
              <a:buNone/>
              <a:defRPr sz="2500"/>
            </a:lvl4pPr>
            <a:lvl5pPr marL="2304288" indent="0">
              <a:buNone/>
              <a:defRPr sz="2500"/>
            </a:lvl5pPr>
            <a:lvl6pPr marL="2880360" indent="0">
              <a:buNone/>
              <a:defRPr sz="2500"/>
            </a:lvl6pPr>
            <a:lvl7pPr marL="3456432" indent="0">
              <a:buNone/>
              <a:defRPr sz="2500"/>
            </a:lvl7pPr>
            <a:lvl8pPr marL="4032504" indent="0">
              <a:buNone/>
              <a:defRPr sz="2500"/>
            </a:lvl8pPr>
            <a:lvl9pPr marL="4608576" indent="0">
              <a:buNone/>
              <a:defRPr sz="2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21"/>
          </a:xfrm>
        </p:spPr>
        <p:txBody>
          <a:bodyPr/>
          <a:lstStyle>
            <a:lvl1pPr marL="0" indent="0">
              <a:buNone/>
              <a:defRPr sz="1800"/>
            </a:lvl1pPr>
            <a:lvl2pPr marL="576072" indent="0">
              <a:buNone/>
              <a:defRPr sz="1500"/>
            </a:lvl2pPr>
            <a:lvl3pPr marL="1152144" indent="0">
              <a:buNone/>
              <a:defRPr sz="1300"/>
            </a:lvl3pPr>
            <a:lvl4pPr marL="1728216" indent="0">
              <a:buNone/>
              <a:defRPr sz="1100"/>
            </a:lvl4pPr>
            <a:lvl5pPr marL="2304288" indent="0">
              <a:buNone/>
              <a:defRPr sz="1100"/>
            </a:lvl5pPr>
            <a:lvl6pPr marL="2880360" indent="0">
              <a:buNone/>
              <a:defRPr sz="1100"/>
            </a:lvl6pPr>
            <a:lvl7pPr marL="3456432" indent="0">
              <a:buNone/>
              <a:defRPr sz="1100"/>
            </a:lvl7pPr>
            <a:lvl8pPr marL="4032504" indent="0">
              <a:buNone/>
              <a:defRPr sz="1100"/>
            </a:lvl8pPr>
            <a:lvl9pPr marL="4608576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53504" y="259508"/>
            <a:ext cx="2592467" cy="55291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76104" y="259508"/>
            <a:ext cx="7585366" cy="55291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937199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.14 Фото и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DB3FB19-848E-CB42-A250-50BFE3733C90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7669212" y="1187451"/>
            <a:ext cx="3486922" cy="4932344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999"/>
            </a:lvl1pPr>
          </a:lstStyle>
          <a:p>
            <a:r>
              <a:rPr lang="ru-RU" dirty="0"/>
              <a:t>Место для фото</a:t>
            </a:r>
            <a:endParaRPr lang="x-none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B784A6F-340A-2941-87C9-A4B20857D7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16014" y="1187454"/>
            <a:ext cx="6401862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499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2C246C5F-8780-7248-AE97-EF179949CD2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22890" y="2346850"/>
            <a:ext cx="6401862" cy="280141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C7CCEA-8174-CC41-9238-A0D3EA01F3F5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1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4845C9DD-5C7A-874F-8368-FFFC6465A6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8" y="371978"/>
            <a:ext cx="2447926" cy="272253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399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591D277-AA9C-EC41-A110-AE8469C88BF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41" y="5971627"/>
            <a:ext cx="1692275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000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21F144B7-C152-F244-9A00-75D92A833EF2}"/>
              </a:ext>
            </a:extLst>
          </p:cNvPr>
          <p:cNvSpPr txBox="1">
            <a:spLocks/>
          </p:cNvSpPr>
          <p:nvPr userDrawn="1"/>
        </p:nvSpPr>
        <p:spPr>
          <a:xfrm>
            <a:off x="10498413" y="374006"/>
            <a:ext cx="663301" cy="27225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399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399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67994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9 Сопровождающий текст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EB572FF-CA06-4849-8D94-3C3994A45B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0363" y="1208077"/>
            <a:ext cx="10801350" cy="97313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28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слайда</a:t>
            </a:r>
            <a:endParaRPr lang="x-none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52C4B7C-9670-DF42-BC56-B170DECD75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38" y="2341224"/>
            <a:ext cx="10801350" cy="36303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300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Текст слайда</a:t>
            </a:r>
            <a:endParaRPr lang="x-none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08586F-874B-374D-83C3-AE2D248221F4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598649D2-E782-5D48-8FCD-B39D7C72EF4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7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Заголовок раздела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9C321D37-B46B-774E-8AD4-106329636C69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5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75E4949-D1C2-3648-90A7-64A1873880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6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799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презентации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2331217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B144694-7FC2-824B-ACAA-93D4B0E2FE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5902" y="1331917"/>
            <a:ext cx="6373813" cy="3816349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5497" b="0" i="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endParaRPr lang="x-non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88A7F86-BC36-3241-91E5-D03882836D2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32588" y="1331915"/>
            <a:ext cx="4429124" cy="3816348"/>
          </a:xfrm>
          <a:prstGeom prst="rect">
            <a:avLst/>
          </a:prstGeom>
        </p:spPr>
        <p:txBody>
          <a:bodyPr anchor="ctr"/>
          <a:lstStyle>
            <a:lvl1pPr algn="ctr">
              <a:buFontTx/>
              <a:buNone/>
              <a:defRPr sz="2800"/>
            </a:lvl1pPr>
          </a:lstStyle>
          <a:p>
            <a:endParaRPr lang="x-none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9D176CE-8965-5349-9FBA-5A96377315FB}"/>
              </a:ext>
            </a:extLst>
          </p:cNvPr>
          <p:cNvCxnSpPr>
            <a:cxnSpLocks/>
          </p:cNvCxnSpPr>
          <p:nvPr userDrawn="1"/>
        </p:nvCxnSpPr>
        <p:spPr>
          <a:xfrm>
            <a:off x="360363" y="356045"/>
            <a:ext cx="10801350" cy="0"/>
          </a:xfrm>
          <a:prstGeom prst="line">
            <a:avLst/>
          </a:prstGeom>
          <a:ln w="19050">
            <a:solidFill>
              <a:srgbClr val="D1D5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301B00CD-A1FA-E242-8C42-584DF7EACB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248" y="371976"/>
            <a:ext cx="2447925" cy="272252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100" b="0" i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Section title</a:t>
            </a:r>
          </a:p>
        </p:txBody>
      </p: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45546C9A-5E11-424E-858D-8C2913D9A7B7}"/>
              </a:ext>
            </a:extLst>
          </p:cNvPr>
          <p:cNvSpPr txBox="1">
            <a:spLocks/>
          </p:cNvSpPr>
          <p:nvPr userDrawn="1"/>
        </p:nvSpPr>
        <p:spPr>
          <a:xfrm>
            <a:off x="10498412" y="374006"/>
            <a:ext cx="663300" cy="2722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i="0" kern="1200">
                <a:solidFill>
                  <a:schemeClr val="tx1">
                    <a:alpha val="50000"/>
                  </a:schemeClr>
                </a:solidFill>
                <a:latin typeface="Arial Black" charset="0"/>
                <a:ea typeface="Arial Black" charset="0"/>
                <a:cs typeface="Arial Black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BEB4B9D-C361-924F-82A2-CAE0D269FBBD}" type="slidenum">
              <a:rPr lang="en-US" sz="1100" b="0" i="0" smtClean="0">
                <a:solidFill>
                  <a:srgbClr val="E9272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/>
              <a:t>‹#›</a:t>
            </a:fld>
            <a:endParaRPr lang="en-US" sz="1100" b="0" i="0" dirty="0">
              <a:solidFill>
                <a:srgbClr val="E9272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24CD8EB8-EB60-2F4E-88CC-EAA88C251C9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69438" y="5971627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798" b="0" i="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x-none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552168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40260" y="1060529"/>
            <a:ext cx="8641556" cy="2256061"/>
          </a:xfrm>
        </p:spPr>
        <p:txBody>
          <a:bodyPr anchor="b"/>
          <a:lstStyle>
            <a:lvl1pPr algn="ctr">
              <a:defRPr sz="5669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40260" y="3403592"/>
            <a:ext cx="8641556" cy="1564542"/>
          </a:xfrm>
        </p:spPr>
        <p:txBody>
          <a:bodyPr/>
          <a:lstStyle>
            <a:lvl1pPr marL="0" indent="0" algn="ctr">
              <a:buNone/>
              <a:defRPr sz="2268"/>
            </a:lvl1pPr>
            <a:lvl2pPr marL="432008" indent="0" algn="ctr">
              <a:buNone/>
              <a:defRPr sz="1890"/>
            </a:lvl2pPr>
            <a:lvl3pPr marL="864017" indent="0" algn="ctr">
              <a:buNone/>
              <a:defRPr sz="1701"/>
            </a:lvl3pPr>
            <a:lvl4pPr marL="1296025" indent="0" algn="ctr">
              <a:buNone/>
              <a:defRPr sz="1512"/>
            </a:lvl4pPr>
            <a:lvl5pPr marL="1728033" indent="0" algn="ctr">
              <a:buNone/>
              <a:defRPr sz="1512"/>
            </a:lvl5pPr>
            <a:lvl6pPr marL="2160041" indent="0" algn="ctr">
              <a:buNone/>
              <a:defRPr sz="1512"/>
            </a:lvl6pPr>
            <a:lvl7pPr marL="2592050" indent="0" algn="ctr">
              <a:buNone/>
              <a:defRPr sz="1512"/>
            </a:lvl7pPr>
            <a:lvl8pPr marL="3024058" indent="0" algn="ctr">
              <a:buNone/>
              <a:defRPr sz="1512"/>
            </a:lvl8pPr>
            <a:lvl9pPr marL="3456066" indent="0" algn="ctr">
              <a:buNone/>
              <a:defRPr sz="1512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35005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825697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1" y="1615545"/>
            <a:ext cx="9937790" cy="2695572"/>
          </a:xfrm>
        </p:spPr>
        <p:txBody>
          <a:bodyPr anchor="b"/>
          <a:lstStyle>
            <a:lvl1pPr>
              <a:defRPr sz="5669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1" y="4336618"/>
            <a:ext cx="9937790" cy="1417538"/>
          </a:xfrm>
        </p:spPr>
        <p:txBody>
          <a:bodyPr/>
          <a:lstStyle>
            <a:lvl1pPr marL="0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1pPr>
            <a:lvl2pPr marL="432008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2pPr>
            <a:lvl3pPr marL="864017" indent="0">
              <a:buNone/>
              <a:defRPr sz="1701">
                <a:solidFill>
                  <a:schemeClr val="tx1">
                    <a:tint val="75000"/>
                  </a:schemeClr>
                </a:solidFill>
              </a:defRPr>
            </a:lvl3pPr>
            <a:lvl4pPr marL="1296025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4pPr>
            <a:lvl5pPr marL="1728033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5pPr>
            <a:lvl6pPr marL="2160041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6pPr>
            <a:lvl7pPr marL="2592050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7pPr>
            <a:lvl8pPr marL="3024058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8pPr>
            <a:lvl9pPr marL="3456066" indent="0">
              <a:buNone/>
              <a:defRPr sz="151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19117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631609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643" y="345010"/>
            <a:ext cx="9937790" cy="125253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644" y="1588543"/>
            <a:ext cx="4874377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644" y="2367064"/>
            <a:ext cx="4874377" cy="348159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543"/>
            <a:ext cx="4898383" cy="778521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7064"/>
            <a:ext cx="4898383" cy="348159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46216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043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vmlDrawing" Target="../drawings/vmlDrawing2.v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2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4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7"/>
            <a:ext cx="10369868" cy="1080029"/>
          </a:xfrm>
          <a:prstGeom prst="rect">
            <a:avLst/>
          </a:prstGeom>
        </p:spPr>
        <p:txBody>
          <a:bodyPr vert="horz" lIns="115214" tIns="57607" rIns="115214" bIns="57607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2"/>
            <a:ext cx="10369868" cy="4276616"/>
          </a:xfrm>
          <a:prstGeom prst="rect">
            <a:avLst/>
          </a:prstGeom>
        </p:spPr>
        <p:txBody>
          <a:bodyPr vert="horz" lIns="115214" tIns="57607" rIns="115214" bIns="5760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3"/>
            <a:ext cx="2688484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09" y="6006163"/>
            <a:ext cx="3648657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3"/>
            <a:ext cx="2688484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5" r:id="rId13"/>
    <p:sldLayoutId id="2147483774" r:id="rId14"/>
  </p:sldLayoutIdLst>
  <p:txStyles>
    <p:titleStyle>
      <a:lvl1pPr algn="ctr" defTabSz="1152144" rtl="0" eaLnBrk="1" latinLnBrk="0" hangingPunct="1">
        <a:spcBef>
          <a:spcPct val="0"/>
        </a:spcBef>
        <a:buNone/>
        <a:defRPr sz="5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54" indent="-432054" algn="l" defTabSz="1152144" rtl="0" eaLnBrk="1" latinLnBrk="0" hangingPunct="1">
        <a:spcBef>
          <a:spcPct val="20000"/>
        </a:spcBef>
        <a:buFont typeface="Arial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36117" indent="-360045" algn="l" defTabSz="1152144" rtl="0" eaLnBrk="1" latinLnBrk="0" hangingPunct="1">
        <a:spcBef>
          <a:spcPct val="20000"/>
        </a:spcBef>
        <a:buFont typeface="Arial" pitchFamily="34" charset="0"/>
        <a:buChar char="–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spcBef>
          <a:spcPct val="20000"/>
        </a:spcBef>
        <a:buFont typeface="Arial" pitchFamily="34" charset="0"/>
        <a:buChar char="»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924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3B508C0-531E-413A-8F7C-B38C03C8E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Слайд think-cell" r:id="rId25" imgW="270" imgH="270" progId="TCLayout.ActiveDocument.1">
                  <p:embed/>
                </p:oleObj>
              </mc:Choice>
              <mc:Fallback>
                <p:oleObj name="Слайд think-cell" r:id="rId25" imgW="270" imgH="27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3B508C0-531E-413A-8F7C-B38C03C8E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Footer Placeholder 41"/>
          <p:cNvSpPr>
            <a:spLocks noGrp="1"/>
          </p:cNvSpPr>
          <p:nvPr>
            <p:ph type="ftr" sz="quarter" idx="3"/>
          </p:nvPr>
        </p:nvSpPr>
        <p:spPr>
          <a:xfrm>
            <a:off x="360363" y="6480175"/>
            <a:ext cx="3420510" cy="3603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ru-RU"/>
          </a:p>
        </p:txBody>
      </p:sp>
      <p:sp>
        <p:nvSpPr>
          <p:cNvPr id="45" name="Date Placeholder 44"/>
          <p:cNvSpPr>
            <a:spLocks noGrp="1"/>
          </p:cNvSpPr>
          <p:nvPr>
            <p:ph type="dt" sz="half" idx="2"/>
          </p:nvPr>
        </p:nvSpPr>
        <p:spPr>
          <a:xfrm>
            <a:off x="3960814" y="6480173"/>
            <a:ext cx="2520950" cy="3603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ru-RU"/>
          </a:p>
        </p:txBody>
      </p:sp>
      <p:sp>
        <p:nvSpPr>
          <p:cNvPr id="46" name="Slide Number Placeholder 45"/>
          <p:cNvSpPr>
            <a:spLocks noGrp="1"/>
          </p:cNvSpPr>
          <p:nvPr>
            <p:ph type="sldNum" sz="quarter" idx="4"/>
          </p:nvPr>
        </p:nvSpPr>
        <p:spPr>
          <a:xfrm>
            <a:off x="10261600" y="6480173"/>
            <a:ext cx="720726" cy="3603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56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699" r:id="rId19"/>
    <p:sldLayoutId id="2147483700" r:id="rId20"/>
    <p:sldLayoutId id="2147483753" r:id="rId21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lang="ru-RU" sz="1200" b="1" i="0" kern="1200" cap="all" spc="100" baseline="0">
          <a:solidFill>
            <a:srgbClr val="E9272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7258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4082">
          <p15:clr>
            <a:srgbClr val="FBAE40"/>
          </p15:clr>
        </p15:guide>
        <p15:guide id="5" pos="227">
          <p15:clr>
            <a:srgbClr val="5ACBF0"/>
          </p15:clr>
        </p15:guide>
        <p15:guide id="6" pos="1860">
          <p15:clr>
            <a:srgbClr val="5ACBF0"/>
          </p15:clr>
        </p15:guide>
        <p15:guide id="7" orient="horz" pos="227">
          <p15:clr>
            <a:srgbClr val="FDE53C"/>
          </p15:clr>
        </p15:guide>
        <p15:guide id="8" orient="horz" pos="3855">
          <p15:clr>
            <a:srgbClr val="FDE53C"/>
          </p15:clr>
        </p15:guide>
        <p15:guide id="36" orient="horz" pos="2086">
          <p15:clr>
            <a:srgbClr val="FDE53C"/>
          </p15:clr>
        </p15:guide>
        <p15:guide id="37" pos="703">
          <p15:clr>
            <a:srgbClr val="5ACBF0"/>
          </p15:clr>
        </p15:guide>
        <p15:guide id="38" pos="794">
          <p15:clr>
            <a:srgbClr val="5ACBF0"/>
          </p15:clr>
        </p15:guide>
        <p15:guide id="39" pos="1293">
          <p15:clr>
            <a:srgbClr val="5ACBF0"/>
          </p15:clr>
        </p15:guide>
        <p15:guide id="40" pos="1384">
          <p15:clr>
            <a:srgbClr val="5ACBF0"/>
          </p15:clr>
        </p15:guide>
        <p15:guide id="41" pos="1951">
          <p15:clr>
            <a:srgbClr val="5ACBF0"/>
          </p15:clr>
        </p15:guide>
        <p15:guide id="42" pos="2427">
          <p15:clr>
            <a:srgbClr val="5ACBF0"/>
          </p15:clr>
        </p15:guide>
        <p15:guide id="43" pos="2518">
          <p15:clr>
            <a:srgbClr val="5ACBF0"/>
          </p15:clr>
        </p15:guide>
        <p15:guide id="44" pos="3017">
          <p15:clr>
            <a:srgbClr val="5ACBF0"/>
          </p15:clr>
        </p15:guide>
        <p15:guide id="46" pos="3674">
          <p15:clr>
            <a:srgbClr val="5ACBF0"/>
          </p15:clr>
        </p15:guide>
        <p15:guide id="48" pos="3107">
          <p15:clr>
            <a:srgbClr val="5ACBF0"/>
          </p15:clr>
        </p15:guide>
        <p15:guide id="49" pos="3584">
          <p15:clr>
            <a:srgbClr val="5ACBF0"/>
          </p15:clr>
        </p15:guide>
        <p15:guide id="50" pos="4740">
          <p15:clr>
            <a:srgbClr val="5ACBF0"/>
          </p15:clr>
        </p15:guide>
        <p15:guide id="51" pos="4241">
          <p15:clr>
            <a:srgbClr val="5ACBF0"/>
          </p15:clr>
        </p15:guide>
        <p15:guide id="52" pos="4151">
          <p15:clr>
            <a:srgbClr val="5ACBF0"/>
          </p15:clr>
        </p15:guide>
        <p15:guide id="53" pos="4831">
          <p15:clr>
            <a:srgbClr val="5ACBF0"/>
          </p15:clr>
        </p15:guide>
        <p15:guide id="54" pos="5307">
          <p15:clr>
            <a:srgbClr val="5ACBF0"/>
          </p15:clr>
        </p15:guide>
        <p15:guide id="55" pos="5398">
          <p15:clr>
            <a:srgbClr val="5ACBF0"/>
          </p15:clr>
        </p15:guide>
        <p15:guide id="56" pos="5874">
          <p15:clr>
            <a:srgbClr val="5ACBF0"/>
          </p15:clr>
        </p15:guide>
        <p15:guide id="57" pos="5965">
          <p15:clr>
            <a:srgbClr val="5ACBF0"/>
          </p15:clr>
        </p15:guide>
        <p15:guide id="60" pos="6441">
          <p15:clr>
            <a:srgbClr val="5ACBF0"/>
          </p15:clr>
        </p15:guide>
        <p15:guide id="61" pos="6532">
          <p15:clr>
            <a:srgbClr val="5ACBF0"/>
          </p15:clr>
        </p15:guide>
        <p15:guide id="62" pos="7031">
          <p15:clr>
            <a:srgbClr val="5ACBF0"/>
          </p15:clr>
        </p15:guide>
        <p15:guide id="63" orient="horz" pos="1996">
          <p15:clr>
            <a:srgbClr val="FDE53C"/>
          </p15:clr>
        </p15:guide>
        <p15:guide id="64" orient="horz" pos="1474">
          <p15:clr>
            <a:srgbClr val="5ACBF0"/>
          </p15:clr>
        </p15:guide>
        <p15:guide id="65" orient="horz" pos="1383">
          <p15:clr>
            <a:srgbClr val="5ACBF0"/>
          </p15:clr>
        </p15:guide>
        <p15:guide id="66" orient="horz" pos="839">
          <p15:clr>
            <a:srgbClr val="5ACBF0"/>
          </p15:clr>
        </p15:guide>
        <p15:guide id="67" orient="horz" pos="748">
          <p15:clr>
            <a:srgbClr val="5ACBF0"/>
          </p15:clr>
        </p15:guide>
        <p15:guide id="68" orient="horz" pos="2608">
          <p15:clr>
            <a:srgbClr val="5ACBF0"/>
          </p15:clr>
        </p15:guide>
        <p15:guide id="69" orient="horz" pos="2699">
          <p15:clr>
            <a:srgbClr val="5ACBF0"/>
          </p15:clr>
        </p15:guide>
        <p15:guide id="70" orient="horz" pos="3243">
          <p15:clr>
            <a:srgbClr val="5ACBF0"/>
          </p15:clr>
        </p15:guide>
        <p15:guide id="71" orient="horz" pos="3334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43" y="345011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92144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63843"/>
            <a:fld id="{5EDD093D-997D-492A-A2A9-C1329F9A982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863843"/>
              <a:t>25.04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6688" y="6006164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63843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37465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863843"/>
            <a:fld id="{68345350-E766-4B14-8537-AACDB5C93B8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863843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782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txStyles>
    <p:titleStyle>
      <a:lvl1pPr algn="l" defTabSz="863843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61" indent="-215961" algn="l" defTabSz="86384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788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79803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725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3646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5567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89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0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1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3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4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5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06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28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49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3B508C0-531E-413A-8F7C-B38C03C8EE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Слайд think-cell" r:id="rId23" imgW="270" imgH="270" progId="TCLayout.ActiveDocument.1">
                  <p:embed/>
                </p:oleObj>
              </mc:Choice>
              <mc:Fallback>
                <p:oleObj name="Слайд think-cell" r:id="rId23" imgW="270" imgH="27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43B508C0-531E-413A-8F7C-B38C03C8EE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Footer Placeholder 41"/>
          <p:cNvSpPr>
            <a:spLocks noGrp="1"/>
          </p:cNvSpPr>
          <p:nvPr>
            <p:ph type="ftr" sz="quarter" idx="3"/>
          </p:nvPr>
        </p:nvSpPr>
        <p:spPr>
          <a:xfrm>
            <a:off x="360363" y="6480175"/>
            <a:ext cx="3420510" cy="3603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ru-RU"/>
          </a:p>
        </p:txBody>
      </p:sp>
      <p:sp>
        <p:nvSpPr>
          <p:cNvPr id="45" name="Date Placeholder 44"/>
          <p:cNvSpPr>
            <a:spLocks noGrp="1"/>
          </p:cNvSpPr>
          <p:nvPr>
            <p:ph type="dt" sz="half" idx="2"/>
          </p:nvPr>
        </p:nvSpPr>
        <p:spPr>
          <a:xfrm>
            <a:off x="3960814" y="6480173"/>
            <a:ext cx="2520950" cy="3603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ru-RU"/>
          </a:p>
        </p:txBody>
      </p:sp>
      <p:sp>
        <p:nvSpPr>
          <p:cNvPr id="46" name="Slide Number Placeholder 45"/>
          <p:cNvSpPr>
            <a:spLocks noGrp="1"/>
          </p:cNvSpPr>
          <p:nvPr>
            <p:ph type="sldNum" sz="quarter" idx="4"/>
          </p:nvPr>
        </p:nvSpPr>
        <p:spPr>
          <a:xfrm>
            <a:off x="10261600" y="6480173"/>
            <a:ext cx="720726" cy="36037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4171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</p:sldLayoutIdLst>
  <p:transition>
    <p:fade/>
  </p:transition>
  <p:hf hdr="0" ftr="0" dt="0"/>
  <p:txStyles>
    <p:titleStyle>
      <a:lvl1pPr algn="l" defTabSz="914400" rtl="0" eaLnBrk="1" latinLnBrk="0" hangingPunct="1">
        <a:spcBef>
          <a:spcPct val="0"/>
        </a:spcBef>
        <a:buNone/>
        <a:defRPr lang="ru-RU" sz="1200" b="1" i="0" kern="1200" cap="all" spc="100" baseline="0">
          <a:solidFill>
            <a:srgbClr val="E9272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BAE40"/>
          </p15:clr>
        </p15:guide>
        <p15:guide id="2" pos="7258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4082">
          <p15:clr>
            <a:srgbClr val="FBAE40"/>
          </p15:clr>
        </p15:guide>
        <p15:guide id="5" pos="227">
          <p15:clr>
            <a:srgbClr val="5ACBF0"/>
          </p15:clr>
        </p15:guide>
        <p15:guide id="6" pos="1860">
          <p15:clr>
            <a:srgbClr val="5ACBF0"/>
          </p15:clr>
        </p15:guide>
        <p15:guide id="7" orient="horz" pos="227">
          <p15:clr>
            <a:srgbClr val="FDE53C"/>
          </p15:clr>
        </p15:guide>
        <p15:guide id="8" orient="horz" pos="3855">
          <p15:clr>
            <a:srgbClr val="FDE53C"/>
          </p15:clr>
        </p15:guide>
        <p15:guide id="36" orient="horz" pos="2086">
          <p15:clr>
            <a:srgbClr val="FDE53C"/>
          </p15:clr>
        </p15:guide>
        <p15:guide id="37" pos="703">
          <p15:clr>
            <a:srgbClr val="5ACBF0"/>
          </p15:clr>
        </p15:guide>
        <p15:guide id="38" pos="794">
          <p15:clr>
            <a:srgbClr val="5ACBF0"/>
          </p15:clr>
        </p15:guide>
        <p15:guide id="39" pos="1293">
          <p15:clr>
            <a:srgbClr val="5ACBF0"/>
          </p15:clr>
        </p15:guide>
        <p15:guide id="40" pos="1384">
          <p15:clr>
            <a:srgbClr val="5ACBF0"/>
          </p15:clr>
        </p15:guide>
        <p15:guide id="41" pos="1951">
          <p15:clr>
            <a:srgbClr val="5ACBF0"/>
          </p15:clr>
        </p15:guide>
        <p15:guide id="42" pos="2427">
          <p15:clr>
            <a:srgbClr val="5ACBF0"/>
          </p15:clr>
        </p15:guide>
        <p15:guide id="43" pos="2518">
          <p15:clr>
            <a:srgbClr val="5ACBF0"/>
          </p15:clr>
        </p15:guide>
        <p15:guide id="44" pos="3017">
          <p15:clr>
            <a:srgbClr val="5ACBF0"/>
          </p15:clr>
        </p15:guide>
        <p15:guide id="46" pos="3674">
          <p15:clr>
            <a:srgbClr val="5ACBF0"/>
          </p15:clr>
        </p15:guide>
        <p15:guide id="48" pos="3107">
          <p15:clr>
            <a:srgbClr val="5ACBF0"/>
          </p15:clr>
        </p15:guide>
        <p15:guide id="49" pos="3584">
          <p15:clr>
            <a:srgbClr val="5ACBF0"/>
          </p15:clr>
        </p15:guide>
        <p15:guide id="50" pos="4740">
          <p15:clr>
            <a:srgbClr val="5ACBF0"/>
          </p15:clr>
        </p15:guide>
        <p15:guide id="51" pos="4241">
          <p15:clr>
            <a:srgbClr val="5ACBF0"/>
          </p15:clr>
        </p15:guide>
        <p15:guide id="52" pos="4151">
          <p15:clr>
            <a:srgbClr val="5ACBF0"/>
          </p15:clr>
        </p15:guide>
        <p15:guide id="53" pos="4831">
          <p15:clr>
            <a:srgbClr val="5ACBF0"/>
          </p15:clr>
        </p15:guide>
        <p15:guide id="54" pos="5307">
          <p15:clr>
            <a:srgbClr val="5ACBF0"/>
          </p15:clr>
        </p15:guide>
        <p15:guide id="55" pos="5398">
          <p15:clr>
            <a:srgbClr val="5ACBF0"/>
          </p15:clr>
        </p15:guide>
        <p15:guide id="56" pos="5874">
          <p15:clr>
            <a:srgbClr val="5ACBF0"/>
          </p15:clr>
        </p15:guide>
        <p15:guide id="57" pos="5965">
          <p15:clr>
            <a:srgbClr val="5ACBF0"/>
          </p15:clr>
        </p15:guide>
        <p15:guide id="60" pos="6441">
          <p15:clr>
            <a:srgbClr val="5ACBF0"/>
          </p15:clr>
        </p15:guide>
        <p15:guide id="61" pos="6532">
          <p15:clr>
            <a:srgbClr val="5ACBF0"/>
          </p15:clr>
        </p15:guide>
        <p15:guide id="62" pos="7031">
          <p15:clr>
            <a:srgbClr val="5ACBF0"/>
          </p15:clr>
        </p15:guide>
        <p15:guide id="63" orient="horz" pos="1996">
          <p15:clr>
            <a:srgbClr val="FDE53C"/>
          </p15:clr>
        </p15:guide>
        <p15:guide id="64" orient="horz" pos="1474">
          <p15:clr>
            <a:srgbClr val="5ACBF0"/>
          </p15:clr>
        </p15:guide>
        <p15:guide id="65" orient="horz" pos="1383">
          <p15:clr>
            <a:srgbClr val="5ACBF0"/>
          </p15:clr>
        </p15:guide>
        <p15:guide id="66" orient="horz" pos="839">
          <p15:clr>
            <a:srgbClr val="5ACBF0"/>
          </p15:clr>
        </p15:guide>
        <p15:guide id="67" orient="horz" pos="748">
          <p15:clr>
            <a:srgbClr val="5ACBF0"/>
          </p15:clr>
        </p15:guide>
        <p15:guide id="68" orient="horz" pos="2608">
          <p15:clr>
            <a:srgbClr val="5ACBF0"/>
          </p15:clr>
        </p15:guide>
        <p15:guide id="69" orient="horz" pos="2699">
          <p15:clr>
            <a:srgbClr val="5ACBF0"/>
          </p15:clr>
        </p15:guide>
        <p15:guide id="70" orient="horz" pos="3243">
          <p15:clr>
            <a:srgbClr val="5ACBF0"/>
          </p15:clr>
        </p15:guide>
        <p15:guide id="71" orient="horz" pos="3334">
          <p15:clr>
            <a:srgbClr val="5ACBF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  <a:prstGeom prst="rect">
            <a:avLst/>
          </a:prstGeom>
        </p:spPr>
        <p:txBody>
          <a:bodyPr vert="horz" lIns="115214" tIns="57607" rIns="115214" bIns="57607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512042"/>
            <a:ext cx="10369868" cy="4276616"/>
          </a:xfrm>
          <a:prstGeom prst="rect">
            <a:avLst/>
          </a:prstGeom>
        </p:spPr>
        <p:txBody>
          <a:bodyPr vert="horz" lIns="115214" tIns="57607" rIns="115214" bIns="57607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76104" y="6006163"/>
            <a:ext cx="2688484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936710" y="6006163"/>
            <a:ext cx="3648657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257487" y="6006163"/>
            <a:ext cx="2688484" cy="345010"/>
          </a:xfrm>
          <a:prstGeom prst="rect">
            <a:avLst/>
          </a:prstGeom>
        </p:spPr>
        <p:txBody>
          <a:bodyPr vert="horz" lIns="115214" tIns="57607" rIns="115214" bIns="57607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084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</p:sldLayoutIdLst>
  <p:txStyles>
    <p:titleStyle>
      <a:lvl1pPr algn="ctr" defTabSz="1151912" rtl="0" eaLnBrk="1" latinLnBrk="0" hangingPunct="1">
        <a:spcBef>
          <a:spcPct val="0"/>
        </a:spcBef>
        <a:buNone/>
        <a:defRPr sz="54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1967" indent="-431967" algn="l" defTabSz="1151912" rtl="0" eaLnBrk="1" latinLnBrk="0" hangingPunct="1">
        <a:spcBef>
          <a:spcPct val="20000"/>
        </a:spcBef>
        <a:buFont typeface="Arial" pitchFamily="34" charset="0"/>
        <a:buChar char="•"/>
        <a:defRPr sz="3999" kern="1200">
          <a:solidFill>
            <a:schemeClr val="tx1"/>
          </a:solidFill>
          <a:latin typeface="+mn-lt"/>
          <a:ea typeface="+mn-ea"/>
          <a:cs typeface="+mn-cs"/>
        </a:defRPr>
      </a:lvl1pPr>
      <a:lvl2pPr marL="935928" indent="-359973" algn="l" defTabSz="1151912" rtl="0" eaLnBrk="1" latinLnBrk="0" hangingPunct="1">
        <a:spcBef>
          <a:spcPct val="20000"/>
        </a:spcBef>
        <a:buFont typeface="Arial" pitchFamily="34" charset="0"/>
        <a:buChar char="–"/>
        <a:defRPr sz="3499" kern="1200">
          <a:solidFill>
            <a:schemeClr val="tx1"/>
          </a:solidFill>
          <a:latin typeface="+mn-lt"/>
          <a:ea typeface="+mn-ea"/>
          <a:cs typeface="+mn-cs"/>
        </a:defRPr>
      </a:lvl2pPr>
      <a:lvl3pPr marL="1439890" indent="-287978" algn="l" defTabSz="1151912" rtl="0" eaLnBrk="1" latinLnBrk="0" hangingPunct="1">
        <a:spcBef>
          <a:spcPct val="20000"/>
        </a:spcBef>
        <a:buFont typeface="Arial" pitchFamily="34" charset="0"/>
        <a:buChar char="•"/>
        <a:defRPr sz="2999" kern="1200">
          <a:solidFill>
            <a:schemeClr val="tx1"/>
          </a:solidFill>
          <a:latin typeface="+mn-lt"/>
          <a:ea typeface="+mn-ea"/>
          <a:cs typeface="+mn-cs"/>
        </a:defRPr>
      </a:lvl3pPr>
      <a:lvl4pPr marL="2015846" indent="-287978" algn="l" defTabSz="1151912" rtl="0" eaLnBrk="1" latinLnBrk="0" hangingPunct="1">
        <a:spcBef>
          <a:spcPct val="20000"/>
        </a:spcBef>
        <a:buFont typeface="Arial" pitchFamily="34" charset="0"/>
        <a:buChar char="–"/>
        <a:defRPr sz="2499" kern="1200">
          <a:solidFill>
            <a:schemeClr val="tx1"/>
          </a:solidFill>
          <a:latin typeface="+mn-lt"/>
          <a:ea typeface="+mn-ea"/>
          <a:cs typeface="+mn-cs"/>
        </a:defRPr>
      </a:lvl4pPr>
      <a:lvl5pPr marL="2591802" indent="-287978" algn="l" defTabSz="1151912" rtl="0" eaLnBrk="1" latinLnBrk="0" hangingPunct="1">
        <a:spcBef>
          <a:spcPct val="20000"/>
        </a:spcBef>
        <a:buFont typeface="Arial" pitchFamily="34" charset="0"/>
        <a:buChar char="»"/>
        <a:defRPr sz="2499" kern="1200">
          <a:solidFill>
            <a:schemeClr val="tx1"/>
          </a:solidFill>
          <a:latin typeface="+mn-lt"/>
          <a:ea typeface="+mn-ea"/>
          <a:cs typeface="+mn-cs"/>
        </a:defRPr>
      </a:lvl5pPr>
      <a:lvl6pPr marL="3167758" indent="-287978" algn="l" defTabSz="1151912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743715" indent="-287978" algn="l" defTabSz="1151912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319670" indent="-287978" algn="l" defTabSz="1151912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4895626" indent="-287978" algn="l" defTabSz="1151912" rtl="0" eaLnBrk="1" latinLnBrk="0" hangingPunct="1">
        <a:spcBef>
          <a:spcPct val="20000"/>
        </a:spcBef>
        <a:buFont typeface="Arial" pitchFamily="34" charset="0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5956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51912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7868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03824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79780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55736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31692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07648" algn="l" defTabSz="1151912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43" y="345010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92143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3A43B-C502-42A2-9041-082C78511927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6688" y="6006163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37465" y="6006163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DFE5CF-520E-4B91-B7DF-CB6E75556A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8610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xStyles>
    <p:titleStyle>
      <a:lvl1pPr algn="l" defTabSz="864017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6004" indent="-216004" algn="l" defTabSz="864017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801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80021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29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4037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864017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2143" y="345011"/>
            <a:ext cx="9937790" cy="12525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2143" y="1725046"/>
            <a:ext cx="9937790" cy="41116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92144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F8A5A1-F920-4E13-8F16-7C563531DA09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816688" y="6006164"/>
            <a:ext cx="3888700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137465" y="6006164"/>
            <a:ext cx="2592467" cy="3450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1CC770-E8A7-42BF-941A-01B8BCD485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6732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</p:sldLayoutIdLst>
  <p:txStyles>
    <p:titleStyle>
      <a:lvl1pPr algn="l" defTabSz="863843" rtl="0" eaLnBrk="1" latinLnBrk="0" hangingPunct="1">
        <a:lnSpc>
          <a:spcPct val="90000"/>
        </a:lnSpc>
        <a:spcBef>
          <a:spcPct val="0"/>
        </a:spcBef>
        <a:buNone/>
        <a:defRPr sz="415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961" indent="-215961" algn="l" defTabSz="86384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1pPr>
      <a:lvl2pPr marL="64788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079803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511725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943646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375567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89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0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1" indent="-215961" algn="l" defTabSz="863843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1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3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4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5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06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28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49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0" algn="l" defTabSz="863843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3.jpeg"/><Relationship Id="rId4" Type="http://schemas.microsoft.com/office/2007/relationships/hdphoto" Target="../media/hdphoto6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0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1.xml"/><Relationship Id="rId5" Type="http://schemas.openxmlformats.org/officeDocument/2006/relationships/image" Target="../media/image36.png"/><Relationship Id="rId4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1.xml"/><Relationship Id="rId4" Type="http://schemas.openxmlformats.org/officeDocument/2006/relationships/image" Target="../media/image4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30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1.xml"/><Relationship Id="rId5" Type="http://schemas.openxmlformats.org/officeDocument/2006/relationships/image" Target="../media/image30.png"/><Relationship Id="rId4" Type="http://schemas.openxmlformats.org/officeDocument/2006/relationships/image" Target="../media/image5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54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56.png"/><Relationship Id="rId5" Type="http://schemas.openxmlformats.org/officeDocument/2006/relationships/image" Target="../media/image50.png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3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8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6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6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image" Target="../media/image62.jp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47.xml"/><Relationship Id="rId6" Type="http://schemas.openxmlformats.org/officeDocument/2006/relationships/image" Target="../media/image64.tmp"/><Relationship Id="rId5" Type="http://schemas.openxmlformats.org/officeDocument/2006/relationships/image" Target="../media/image63.png"/><Relationship Id="rId4" Type="http://schemas.openxmlformats.org/officeDocument/2006/relationships/image" Target="../media/image6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4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7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6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jpeg"/><Relationship Id="rId9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image" Target="../media/image11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microsoft.com/office/2007/relationships/hdphoto" Target="../media/hdphoto3.wdp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.jpeg"/><Relationship Id="rId4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26" Type="http://schemas.openxmlformats.org/officeDocument/2006/relationships/tags" Target="../tags/tag31.xml"/><Relationship Id="rId3" Type="http://schemas.openxmlformats.org/officeDocument/2006/relationships/tags" Target="../tags/tag8.xml"/><Relationship Id="rId21" Type="http://schemas.openxmlformats.org/officeDocument/2006/relationships/tags" Target="../tags/tag26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tags" Target="../tags/tag25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24" Type="http://schemas.openxmlformats.org/officeDocument/2006/relationships/tags" Target="../tags/tag29.xml"/><Relationship Id="rId32" Type="http://schemas.openxmlformats.org/officeDocument/2006/relationships/chart" Target="../charts/chart2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notesSlide" Target="../notesSlides/notesSlide7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31" Type="http://schemas.openxmlformats.org/officeDocument/2006/relationships/chart" Target="../charts/chart1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tags" Target="../tags/tag27.xml"/><Relationship Id="rId27" Type="http://schemas.openxmlformats.org/officeDocument/2006/relationships/slideLayout" Target="../slideLayouts/slideLayout13.xml"/><Relationship Id="rId30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image" Target="../media/image1.emf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oleObject" Target="../embeddings/oleObject6.bin"/><Relationship Id="rId17" Type="http://schemas.openxmlformats.org/officeDocument/2006/relationships/chart" Target="../charts/chart6.xml"/><Relationship Id="rId2" Type="http://schemas.openxmlformats.org/officeDocument/2006/relationships/tags" Target="../tags/tag32.xml"/><Relationship Id="rId16" Type="http://schemas.openxmlformats.org/officeDocument/2006/relationships/chart" Target="../charts/chart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6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35.xml"/><Relationship Id="rId15" Type="http://schemas.openxmlformats.org/officeDocument/2006/relationships/chart" Target="../charts/chart4.xml"/><Relationship Id="rId10" Type="http://schemas.openxmlformats.org/officeDocument/2006/relationships/slideLayout" Target="../slideLayouts/slideLayout13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id="{B4AC48E8-931B-4D75-890C-B5C23CA16E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id="{B4AC48E8-931B-4D75-890C-B5C23CA16E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159125CA-05B4-4C95-BB66-F055F2E002B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E74DF6-51E5-4A46-90C2-70011D1AC7C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200" dirty="0">
                <a:solidFill>
                  <a:srgbClr val="FFFFFF">
                    <a:lumMod val="50000"/>
                  </a:srgbClr>
                </a:solidFill>
              </a:rPr>
              <a:t>День безопасности труда</a:t>
            </a:r>
            <a:endParaRPr lang="en-RU" sz="3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BC2488-A65F-104A-B504-CF8FA1630D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9349" y="5472335"/>
            <a:ext cx="4572000" cy="839654"/>
          </a:xfrm>
        </p:spPr>
        <p:txBody>
          <a:bodyPr/>
          <a:lstStyle/>
          <a:p>
            <a:r>
              <a:rPr lang="ru-RU" dirty="0" smtClean="0"/>
              <a:t>Дирекция по безопасности производства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9928813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6"/>
            <a:r>
              <a:rPr lang="ru-RU" sz="799" dirty="0"/>
              <a:t>День безопасности труда с подрядными организациями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A1584F74-92CE-481B-9F91-C1014731D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81159" y="2502406"/>
            <a:ext cx="4895794" cy="864126"/>
          </a:xfrm>
        </p:spPr>
        <p:txBody>
          <a:bodyPr>
            <a:normAutofit/>
          </a:bodyPr>
          <a:lstStyle/>
          <a:p>
            <a:r>
              <a:rPr lang="ru-RU" sz="3599" b="1" dirty="0">
                <a:solidFill>
                  <a:srgbClr val="C00000"/>
                </a:solidFill>
              </a:rPr>
              <a:t>Тестирование</a:t>
            </a:r>
          </a:p>
        </p:txBody>
      </p:sp>
      <p:pic>
        <p:nvPicPr>
          <p:cNvPr id="5" name="Рисунок 4" descr="Вырезка экрана">
            <a:extLst>
              <a:ext uri="{FF2B5EF4-FFF2-40B4-BE49-F238E27FC236}">
                <a16:creationId xmlns:a16="http://schemas.microsoft.com/office/drawing/2014/main" id="{96255FE0-4DA2-478C-B859-35D893DF86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232" y="2088136"/>
            <a:ext cx="1295945" cy="1692666"/>
          </a:xfrm>
          <a:prstGeom prst="rect">
            <a:avLst/>
          </a:prstGeom>
        </p:spPr>
      </p:pic>
      <p:pic>
        <p:nvPicPr>
          <p:cNvPr id="8" name="Рисунок 7" descr="image00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1249" y="4968015"/>
            <a:ext cx="3085627" cy="117139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17270" y="360209"/>
            <a:ext cx="11945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16">
              <a:spcBef>
                <a:spcPct val="20000"/>
              </a:spcBef>
              <a:defRPr/>
            </a:pPr>
            <a:r>
              <a:rPr lang="ru-RU" sz="1100" dirty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ст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23620622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52" y="792191"/>
            <a:ext cx="341353" cy="37183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632134" y="2805346"/>
            <a:ext cx="5758568" cy="487569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15" indent="-171415" defTabSz="1151912">
              <a:lnSpc>
                <a:spcPct val="107000"/>
              </a:lnSpc>
              <a:spcAft>
                <a:spcPts val="799"/>
              </a:spcAft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</a:t>
            </a:r>
            <a:r>
              <a:rPr lang="ru-RU" sz="12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оверка</a:t>
            </a: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знаний персонала подрядной организации в области безопасности производств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32133" y="2506070"/>
            <a:ext cx="612699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15" indent="-171415" defTabSz="1218839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вышение уровня знаний работников по профессиям и видам работ</a:t>
            </a:r>
            <a:r>
              <a:rPr lang="ru-RU" sz="11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 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32134" y="1934865"/>
            <a:ext cx="5758568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15" indent="-171415" defTabSz="1218839">
              <a:buFont typeface="Wingdings" panose="05000000000000000000" pitchFamily="2" charset="2"/>
              <a:buChar char="Ø"/>
              <a:defRPr/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Недопущение привлечения неквалифицированных сотрудников к работам повышенной опасности.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18F5E079-E1DA-43F4-9549-3D4233B69A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7" r="8857"/>
          <a:stretch>
            <a:fillRect/>
          </a:stretch>
        </p:blipFill>
        <p:spPr>
          <a:xfrm>
            <a:off x="7848949" y="720193"/>
            <a:ext cx="3351855" cy="5237634"/>
          </a:xfrm>
          <a:prstGeom prst="rect">
            <a:avLst/>
          </a:prstGeom>
          <a:ln w="28575" cap="rnd">
            <a:solidFill>
              <a:schemeClr val="bg1">
                <a:lumMod val="65000"/>
              </a:schemeClr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2" name="Прямоугольник 1"/>
          <p:cNvSpPr/>
          <p:nvPr/>
        </p:nvSpPr>
        <p:spPr>
          <a:xfrm>
            <a:off x="649251" y="1318646"/>
            <a:ext cx="5758568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15" indent="-171415" defTabSz="1151912"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Формирование базы сотрудников подрядной организации, допускаемых для производства работ, по наряд-допуску.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3275" y="288211"/>
            <a:ext cx="11231529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966630" y="824896"/>
            <a:ext cx="5151795" cy="3202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218839">
              <a:defRPr/>
            </a:pPr>
            <a:r>
              <a:rPr lang="ru-RU" sz="1481" b="1" dirty="0">
                <a:solidFill>
                  <a:srgbClr val="C00000"/>
                </a:solidFill>
                <a:latin typeface="Calibri"/>
              </a:rPr>
              <a:t>Для чего необходимо прохождение данного тестирования?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3172" y="312288"/>
            <a:ext cx="11945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16">
              <a:spcBef>
                <a:spcPct val="20000"/>
              </a:spcBef>
              <a:defRPr/>
            </a:pPr>
            <a:r>
              <a:rPr lang="ru-RU" sz="1100" dirty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стирование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021" y="3421566"/>
            <a:ext cx="6888953" cy="2847723"/>
          </a:xfrm>
          <a:prstGeom prst="rect">
            <a:avLst/>
          </a:prstGeom>
          <a:ln w="25400">
            <a:solidFill>
              <a:sysClr val="window" lastClr="FFFFFF">
                <a:lumMod val="50000"/>
              </a:sysClr>
            </a:solidFill>
          </a:ln>
        </p:spPr>
      </p:pic>
      <p:sp>
        <p:nvSpPr>
          <p:cNvPr id="14" name="Овал 13"/>
          <p:cNvSpPr/>
          <p:nvPr/>
        </p:nvSpPr>
        <p:spPr>
          <a:xfrm>
            <a:off x="5257058" y="4278416"/>
            <a:ext cx="791967" cy="803029"/>
          </a:xfrm>
          <a:prstGeom prst="ellipse">
            <a:avLst/>
          </a:prstGeom>
          <a:noFill/>
          <a:ln w="28575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63843">
              <a:defRPr/>
            </a:pPr>
            <a:endParaRPr lang="ru-RU" sz="1701" kern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00936" y="288211"/>
            <a:ext cx="2688484" cy="345010"/>
          </a:xfrm>
        </p:spPr>
        <p:txBody>
          <a:bodyPr/>
          <a:lstStyle/>
          <a:p>
            <a:fld id="{725C68B6-61C2-468F-89AB-4B9F7531AA68}" type="slidenum">
              <a:rPr lang="ru-RU" sz="1200" smtClean="0">
                <a:solidFill>
                  <a:srgbClr val="C00000"/>
                </a:solidFill>
              </a:rPr>
              <a:pPr/>
              <a:t>11</a:t>
            </a:fld>
            <a:endParaRPr lang="ru-RU" sz="12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53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4B4FDA7-8FDE-4DF7-9010-6D2BDE719FA3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6">
              <a:defRPr/>
            </a:pPr>
            <a:r>
              <a:rPr lang="ru-RU" sz="799" dirty="0"/>
              <a:t>День безопасности труда с подрядными организациями</a:t>
            </a:r>
          </a:p>
        </p:txBody>
      </p:sp>
      <p:sp>
        <p:nvSpPr>
          <p:cNvPr id="14" name="Текст 11">
            <a:extLst>
              <a:ext uri="{FF2B5EF4-FFF2-40B4-BE49-F238E27FC236}">
                <a16:creationId xmlns:a16="http://schemas.microsoft.com/office/drawing/2014/main" id="{139E9BE7-890A-4097-8CE4-8D80690658B7}"/>
              </a:ext>
            </a:extLst>
          </p:cNvPr>
          <p:cNvSpPr txBox="1">
            <a:spLocks/>
          </p:cNvSpPr>
          <p:nvPr/>
        </p:nvSpPr>
        <p:spPr>
          <a:xfrm>
            <a:off x="280086" y="372415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6">
              <a:defRPr/>
            </a:pPr>
            <a:r>
              <a:rPr lang="ru-RU" dirty="0"/>
              <a:t>Тестирование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3480D-E7D3-43D3-A727-765DC98E1B19}"/>
              </a:ext>
            </a:extLst>
          </p:cNvPr>
          <p:cNvSpPr txBox="1"/>
          <p:nvPr/>
        </p:nvSpPr>
        <p:spPr>
          <a:xfrm>
            <a:off x="937240" y="780731"/>
            <a:ext cx="9039702" cy="307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1912">
              <a:defRPr/>
            </a:pPr>
            <a:r>
              <a:rPr lang="ru-RU" sz="1399" b="1" dirty="0">
                <a:solidFill>
                  <a:srgbClr val="C00000"/>
                </a:solidFill>
                <a:latin typeface="Calibri"/>
              </a:rPr>
              <a:t>Организация тестирования</a:t>
            </a:r>
          </a:p>
        </p:txBody>
      </p:sp>
      <p:pic>
        <p:nvPicPr>
          <p:cNvPr id="9" name="Рисунок 2" descr="https://static.tildacdn.com/tild3866-6636-4138-a138-343332353733/4.png">
            <a:extLst>
              <a:ext uri="{FF2B5EF4-FFF2-40B4-BE49-F238E27FC236}">
                <a16:creationId xmlns:a16="http://schemas.microsoft.com/office/drawing/2014/main" id="{BCF7BD6F-EC5A-4EBC-B28B-EEEC31F07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48" y="749693"/>
            <a:ext cx="384691" cy="41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Текст 3">
            <a:extLst>
              <a:ext uri="{FF2B5EF4-FFF2-40B4-BE49-F238E27FC236}">
                <a16:creationId xmlns:a16="http://schemas.microsoft.com/office/drawing/2014/main" id="{9BDA5A1E-DA15-468A-A1A9-39AC16C4997B}"/>
              </a:ext>
            </a:extLst>
          </p:cNvPr>
          <p:cNvSpPr txBox="1">
            <a:spLocks/>
          </p:cNvSpPr>
          <p:nvPr/>
        </p:nvSpPr>
        <p:spPr>
          <a:xfrm>
            <a:off x="433261" y="1369924"/>
            <a:ext cx="8567640" cy="1367942"/>
          </a:xfrm>
          <a:prstGeom prst="rect">
            <a:avLst/>
          </a:prstGeom>
        </p:spPr>
        <p:txBody>
          <a:bodyPr vert="horz" lIns="115196" tIns="57598" rIns="115196" bIns="57598" rtlCol="0">
            <a:normAutofit/>
          </a:bodyPr>
          <a:lstStyle>
            <a:lvl1pPr marL="0" indent="0" algn="l" defTabSz="1152144" rtl="0" eaLnBrk="1" latinLnBrk="0" hangingPunct="1">
              <a:spcBef>
                <a:spcPct val="20000"/>
              </a:spcBef>
              <a:buFontTx/>
              <a:buNone/>
              <a:defRPr sz="1300" b="0" i="0" kern="1200">
                <a:solidFill>
                  <a:srgbClr val="19212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36117" indent="-360045" algn="l" defTabSz="115214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6252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92324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151912">
              <a:defRPr/>
            </a:pPr>
            <a:endParaRPr lang="ru-RU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AE0944F8-8620-4705-8F88-04BED1A852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1305" t="5490" r="14198" b="58301"/>
          <a:stretch/>
        </p:blipFill>
        <p:spPr>
          <a:xfrm>
            <a:off x="713600" y="2733360"/>
            <a:ext cx="10492912" cy="2946684"/>
          </a:xfrm>
          <a:prstGeom prst="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Прямоугольник 1"/>
          <p:cNvSpPr/>
          <p:nvPr/>
        </p:nvSpPr>
        <p:spPr>
          <a:xfrm>
            <a:off x="592287" y="1646410"/>
            <a:ext cx="16812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51912"/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Заполняется таблица данных</a:t>
            </a:r>
            <a:endParaRPr lang="ru-RU" sz="1200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25996" y="1511928"/>
            <a:ext cx="20872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51912"/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Данные направляются в отдел по работе с подрядными организациями ДпБ</a:t>
            </a:r>
            <a:endParaRPr lang="ru-RU" sz="1200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875811" y="1675280"/>
            <a:ext cx="238529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51912"/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Загрузка данных в систему </a:t>
            </a:r>
            <a:endParaRPr lang="ru-RU" sz="1200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05263" y="1674300"/>
            <a:ext cx="1837362" cy="2899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51912">
              <a:lnSpc>
                <a:spcPct val="107000"/>
              </a:lnSpc>
              <a:spcAft>
                <a:spcPts val="799"/>
              </a:spcAft>
            </a:pPr>
            <a:r>
              <a:rPr lang="ru-RU" sz="12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Прохождение тест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55704" y="1667024"/>
            <a:ext cx="1610688" cy="538165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013095" y="1494931"/>
            <a:ext cx="2085863" cy="874144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852223" y="1589742"/>
            <a:ext cx="2303903" cy="514022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945373" y="1557057"/>
            <a:ext cx="2087914" cy="54243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2305182" y="1906509"/>
            <a:ext cx="503979" cy="101553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209454" y="1855731"/>
            <a:ext cx="503979" cy="101553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Стрелка вправо 17"/>
          <p:cNvSpPr/>
          <p:nvPr/>
        </p:nvSpPr>
        <p:spPr>
          <a:xfrm>
            <a:off x="8292713" y="1810535"/>
            <a:ext cx="503979" cy="101553"/>
          </a:xfrm>
          <a:prstGeom prst="rightArrow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29417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4B4FDA7-8FDE-4DF7-9010-6D2BDE719FA3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6">
              <a:defRPr/>
            </a:pPr>
            <a:r>
              <a:rPr lang="ru-RU" sz="799" dirty="0"/>
              <a:t>День безопасности труда с подрядными организациями</a:t>
            </a:r>
          </a:p>
        </p:txBody>
      </p:sp>
      <p:sp>
        <p:nvSpPr>
          <p:cNvPr id="14" name="Текст 11">
            <a:extLst>
              <a:ext uri="{FF2B5EF4-FFF2-40B4-BE49-F238E27FC236}">
                <a16:creationId xmlns:a16="http://schemas.microsoft.com/office/drawing/2014/main" id="{139E9BE7-890A-4097-8CE4-8D80690658B7}"/>
              </a:ext>
            </a:extLst>
          </p:cNvPr>
          <p:cNvSpPr txBox="1">
            <a:spLocks/>
          </p:cNvSpPr>
          <p:nvPr/>
        </p:nvSpPr>
        <p:spPr>
          <a:xfrm>
            <a:off x="149598" y="415932"/>
            <a:ext cx="1363618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216">
              <a:defRPr/>
            </a:pP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36A8D12-CC4C-4021-A843-F1A31DC4DA2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l="4819" t="21048" r="29954" b="46490"/>
          <a:stretch/>
        </p:blipFill>
        <p:spPr>
          <a:xfrm>
            <a:off x="5680936" y="1257078"/>
            <a:ext cx="5596710" cy="1358857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chemeClr val="bg1">
                <a:lumMod val="65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910958A-3965-449A-BF14-01D7E1036B9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24639" t="23178" r="12540" b="40961"/>
          <a:stretch/>
        </p:blipFill>
        <p:spPr>
          <a:xfrm>
            <a:off x="5618137" y="3960058"/>
            <a:ext cx="5596710" cy="17963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chemeClr val="bg1">
                <a:lumMod val="75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4BA4ED8-1A6C-4FD5-89C4-47CAC59CE5A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/>
          <a:srcRect l="36747" t="8137" r="36828" b="33081"/>
          <a:stretch/>
        </p:blipFill>
        <p:spPr>
          <a:xfrm>
            <a:off x="505259" y="1219763"/>
            <a:ext cx="4832979" cy="4870546"/>
          </a:xfrm>
          <a:prstGeom prst="rect">
            <a:avLst/>
          </a:prstGeom>
          <a:solidFill>
            <a:srgbClr val="FFFFFF">
              <a:shade val="85000"/>
            </a:srgbClr>
          </a:solidFill>
          <a:ln w="19050" cap="sq">
            <a:solidFill>
              <a:schemeClr val="bg1">
                <a:lumMod val="75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FD2CE89-D6E1-4257-A8FC-A5B7ECB784C4}"/>
              </a:ext>
            </a:extLst>
          </p:cNvPr>
          <p:cNvSpPr txBox="1"/>
          <p:nvPr/>
        </p:nvSpPr>
        <p:spPr>
          <a:xfrm>
            <a:off x="937240" y="780731"/>
            <a:ext cx="9039702" cy="307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1912">
              <a:defRPr/>
            </a:pPr>
            <a:r>
              <a:rPr lang="ru-RU" sz="1399" b="1" dirty="0">
                <a:solidFill>
                  <a:srgbClr val="C00000"/>
                </a:solidFill>
                <a:latin typeface="Calibri"/>
              </a:rPr>
              <a:t>Обучающий материал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41" y="680703"/>
            <a:ext cx="313660" cy="407759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05784" y="372838"/>
            <a:ext cx="119455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216">
              <a:spcBef>
                <a:spcPct val="20000"/>
              </a:spcBef>
              <a:defRPr/>
            </a:pPr>
            <a:r>
              <a:rPr lang="ru-RU" sz="1100" dirty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ст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27966634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637" y="2435495"/>
            <a:ext cx="3504496" cy="2614748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115272" y="899458"/>
            <a:ext cx="97184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1912">
              <a:defRPr/>
            </a:pPr>
            <a:r>
              <a:rPr lang="ru-RU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 вопросам координации процесса тестирования обращаться в отдел по работе с подрядными организациям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85250" y="5216425"/>
            <a:ext cx="2972289" cy="3999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51912">
              <a:defRPr/>
            </a:pPr>
            <a:r>
              <a:rPr lang="en-US" sz="1999" b="1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mz_orpo@omk</a:t>
            </a:r>
            <a:r>
              <a:rPr lang="ru-RU" sz="1999" b="1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.</a:t>
            </a:r>
            <a:r>
              <a:rPr lang="en-US" sz="1999" b="1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u</a:t>
            </a:r>
            <a:r>
              <a:rPr lang="ru-RU" sz="1999" b="1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3276" y="432205"/>
            <a:ext cx="122394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16">
              <a:spcBef>
                <a:spcPct val="20000"/>
              </a:spcBef>
              <a:defRPr/>
            </a:pPr>
            <a:r>
              <a:rPr lang="ru-RU" sz="1100" dirty="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Тестирование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73275" y="360208"/>
            <a:ext cx="11231529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6163524" y="1919058"/>
            <a:ext cx="314220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/>
            <a:r>
              <a:rPr lang="ru-RU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айт «Школа подрядчика» </a:t>
            </a:r>
            <a:endParaRPr lang="ru-RU" sz="170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9839" y="2527933"/>
            <a:ext cx="6149449" cy="2429873"/>
          </a:xfrm>
          <a:prstGeom prst="rec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7090279" y="5233267"/>
            <a:ext cx="1553630" cy="3831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151912">
              <a:defRPr/>
            </a:pPr>
            <a:r>
              <a:rPr lang="en-US" sz="1890" b="1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p.omk.ru</a:t>
            </a:r>
            <a:endParaRPr lang="ru-RU" sz="1890" b="1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8616320" y="450024"/>
            <a:ext cx="2688484" cy="345010"/>
          </a:xfrm>
        </p:spPr>
        <p:txBody>
          <a:bodyPr/>
          <a:lstStyle/>
          <a:p>
            <a:fld id="{725C68B6-61C2-468F-89AB-4B9F7531AA68}" type="slidenum">
              <a:rPr lang="ru-RU" sz="1400" smtClean="0">
                <a:solidFill>
                  <a:srgbClr val="C00000"/>
                </a:solidFill>
              </a:rPr>
              <a:pPr/>
              <a:t>14</a:t>
            </a:fld>
            <a:endParaRPr lang="ru-RU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292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948860" y="2381173"/>
            <a:ext cx="8326136" cy="839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64017">
              <a:lnSpc>
                <a:spcPct val="107000"/>
              </a:lnSpc>
              <a:spcAft>
                <a:spcPts val="756"/>
              </a:spcAft>
            </a:pPr>
            <a:r>
              <a:rPr lang="ru-RU" sz="2268" b="1" dirty="0">
                <a:solidFill>
                  <a:srgbClr val="C00000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матизированная Система Управления    Безопасностью (АСУБ)</a:t>
            </a:r>
            <a:endParaRPr lang="ru-RU" sz="2268" b="1" dirty="0">
              <a:solidFill>
                <a:srgbClr val="C00000"/>
              </a:solidFill>
              <a:latin typeface="Calibri" panose="020F0502020204030204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 descr="image00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5584" y="4694564"/>
            <a:ext cx="2916079" cy="1107030"/>
          </a:xfrm>
          <a:prstGeom prst="rect">
            <a:avLst/>
          </a:prstGeom>
        </p:spPr>
      </p:pic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061323" y="5642633"/>
            <a:ext cx="1599042" cy="334069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64017">
              <a:defRPr/>
            </a:pPr>
            <a:r>
              <a:rPr lang="ru-RU" sz="756" dirty="0"/>
              <a:t>День безопасности труда с подрядными организациями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37338" y="339947"/>
            <a:ext cx="10425190" cy="2876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75000"/>
              </a:sysClr>
            </a:solidFill>
            <a:prstDash val="solid"/>
          </a:ln>
          <a:effectLst/>
        </p:spPr>
      </p:cxnSp>
      <p:sp>
        <p:nvSpPr>
          <p:cNvPr id="6" name="Прямоугольник 5"/>
          <p:cNvSpPr/>
          <p:nvPr/>
        </p:nvSpPr>
        <p:spPr>
          <a:xfrm>
            <a:off x="882" y="368706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641357" y="481060"/>
            <a:ext cx="2592467" cy="345009"/>
          </a:xfrm>
        </p:spPr>
        <p:txBody>
          <a:bodyPr/>
          <a:lstStyle/>
          <a:p>
            <a:fld id="{7ADFE5CF-520E-4B91-B7DF-CB6E75556A97}" type="slidenum">
              <a:rPr lang="ru-RU" smtClean="0">
                <a:solidFill>
                  <a:srgbClr val="C00000"/>
                </a:solidFill>
              </a:rPr>
              <a:t>15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82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971" y="1722412"/>
            <a:ext cx="5455474" cy="4160801"/>
          </a:xfrm>
          <a:prstGeom prst="rec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8" name="Прямоугольник 7"/>
          <p:cNvSpPr/>
          <p:nvPr/>
        </p:nvSpPr>
        <p:spPr>
          <a:xfrm>
            <a:off x="4510248" y="2489824"/>
            <a:ext cx="1233197" cy="60529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>
              <a:defRPr/>
            </a:pPr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381" y="285126"/>
            <a:ext cx="10409503" cy="3456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82" y="31968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595917" y="559737"/>
            <a:ext cx="2305439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/>
            <a:r>
              <a:rPr lang="ru-RU" sz="1512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ход в систему АСУБ</a:t>
            </a:r>
            <a:endParaRPr lang="ru-RU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54787" y="1722412"/>
            <a:ext cx="5474767" cy="4160801"/>
          </a:xfrm>
          <a:prstGeom prst="rec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9" name="Прямоугольник 8"/>
          <p:cNvSpPr/>
          <p:nvPr/>
        </p:nvSpPr>
        <p:spPr>
          <a:xfrm>
            <a:off x="610017" y="1018804"/>
            <a:ext cx="4187365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/>
            <a:r>
              <a:rPr lang="ru-RU" sz="1512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вести стандартный пароль </a:t>
            </a:r>
            <a:r>
              <a:rPr lang="en-US" sz="1512" b="1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er-1234</a:t>
            </a:r>
            <a:endParaRPr lang="ru-RU" sz="1701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813403" y="1002800"/>
            <a:ext cx="5044971" cy="3250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/>
            <a:r>
              <a:rPr lang="ru-RU" sz="1512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вести действующий пароль или создать новый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74279" y="981124"/>
            <a:ext cx="4147312" cy="421386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3402" y="975791"/>
            <a:ext cx="5041190" cy="432049"/>
          </a:xfrm>
          <a:prstGeom prst="rect">
            <a:avLst/>
          </a:prstGeom>
        </p:spPr>
      </p:pic>
      <p:sp>
        <p:nvSpPr>
          <p:cNvPr id="13" name="Стрелка вправо 12"/>
          <p:cNvSpPr/>
          <p:nvPr/>
        </p:nvSpPr>
        <p:spPr>
          <a:xfrm>
            <a:off x="4941524" y="1087102"/>
            <a:ext cx="628381" cy="142167"/>
          </a:xfrm>
          <a:prstGeom prst="rightArrow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92170" y="287993"/>
            <a:ext cx="2592467" cy="345009"/>
          </a:xfrm>
        </p:spPr>
        <p:txBody>
          <a:bodyPr/>
          <a:lstStyle/>
          <a:p>
            <a:fld id="{7ADFE5CF-520E-4B91-B7DF-CB6E75556A97}" type="slidenum">
              <a:rPr lang="ru-RU" smtClean="0">
                <a:solidFill>
                  <a:srgbClr val="C00000"/>
                </a:solidFill>
              </a:rPr>
              <a:t>16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22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413" y="1545439"/>
            <a:ext cx="10888627" cy="4909231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2" name="Овал 1"/>
          <p:cNvSpPr/>
          <p:nvPr/>
        </p:nvSpPr>
        <p:spPr>
          <a:xfrm>
            <a:off x="4804098" y="3101832"/>
            <a:ext cx="942428" cy="1358665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" y="284053"/>
            <a:ext cx="10407909" cy="3455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558143" y="901966"/>
            <a:ext cx="8464177" cy="3101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>
              <a:lnSpc>
                <a:spcPct val="107000"/>
              </a:lnSpc>
              <a:spcAft>
                <a:spcPts val="756"/>
              </a:spcAft>
            </a:pPr>
            <a:r>
              <a:rPr lang="ru-RU" sz="1323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наблюдений в Автоматизированной Системе Управления Безопасностью (АСУБ)</a:t>
            </a:r>
            <a:endParaRPr lang="ru-RU" sz="1038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-52082" y="301332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1357" y="390295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17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821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728" y="1272773"/>
            <a:ext cx="10425865" cy="4904014"/>
          </a:xfrm>
          <a:prstGeom prst="rect">
            <a:avLst/>
          </a:prstGeom>
          <a:ln w="25400">
            <a:solidFill>
              <a:sysClr val="windowText" lastClr="000000">
                <a:lumMod val="65000"/>
                <a:lumOff val="35000"/>
              </a:sysClr>
            </a:solidFill>
          </a:ln>
        </p:spPr>
      </p:pic>
      <p:sp>
        <p:nvSpPr>
          <p:cNvPr id="4" name="Овал 3"/>
          <p:cNvSpPr/>
          <p:nvPr/>
        </p:nvSpPr>
        <p:spPr>
          <a:xfrm>
            <a:off x="8664235" y="1272773"/>
            <a:ext cx="2026358" cy="526189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853" y="270088"/>
            <a:ext cx="10407909" cy="3455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9376" y="696971"/>
            <a:ext cx="316076" cy="52289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882" y="270088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281317" y="347033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18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620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29" y="1066178"/>
            <a:ext cx="8942384" cy="4621808"/>
          </a:xfrm>
          <a:prstGeom prst="rect">
            <a:avLst/>
          </a:prstGeom>
          <a:ln w="25400">
            <a:solidFill>
              <a:sysClr val="windowText" lastClr="000000">
                <a:lumMod val="65000"/>
                <a:lumOff val="35000"/>
              </a:sysClr>
            </a:solidFill>
          </a:ln>
        </p:spPr>
      </p:pic>
      <p:sp>
        <p:nvSpPr>
          <p:cNvPr id="4" name="Прямоугольник 3"/>
          <p:cNvSpPr/>
          <p:nvPr/>
        </p:nvSpPr>
        <p:spPr>
          <a:xfrm>
            <a:off x="9551569" y="2244981"/>
            <a:ext cx="1346844" cy="252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Подразделение </a:t>
            </a:r>
            <a:endParaRPr lang="ru-RU" sz="1701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566653" y="2884814"/>
            <a:ext cx="1826663" cy="252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Описание наблюдения</a:t>
            </a:r>
            <a:r>
              <a:rPr lang="ru-RU" sz="1038" dirty="0">
                <a:solidFill>
                  <a:prstClr val="black">
                    <a:lumMod val="65000"/>
                    <a:lumOff val="35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endParaRPr lang="ru-RU" sz="1701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662882" y="3524648"/>
            <a:ext cx="1345240" cy="5715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ид действия</a:t>
            </a:r>
          </a:p>
          <a:p>
            <a:pPr defTabSz="863843"/>
            <a:endParaRPr lang="ru-RU" sz="1038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ид наблюдения</a:t>
            </a:r>
            <a:endParaRPr lang="ru-RU" sz="1701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662882" y="4129359"/>
            <a:ext cx="1122423" cy="252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Исполнитель</a:t>
            </a:r>
            <a:endParaRPr lang="ru-RU" sz="1701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9238845" y="1242341"/>
            <a:ext cx="2068195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323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Базовая информация</a:t>
            </a:r>
            <a:endParaRPr lang="ru-RU" sz="1323" dirty="0">
              <a:solidFill>
                <a:prstClr val="white">
                  <a:lumMod val="50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638046" y="2556295"/>
            <a:ext cx="1043876" cy="252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Дата</a:t>
            </a:r>
            <a:r>
              <a:rPr lang="en-US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Время 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638044" y="3212829"/>
            <a:ext cx="1338828" cy="252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Описание места 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9362166" y="2003547"/>
            <a:ext cx="1932100" cy="2604370"/>
          </a:xfrm>
          <a:prstGeom prst="round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Стрелка вниз 18"/>
          <p:cNvSpPr/>
          <p:nvPr/>
        </p:nvSpPr>
        <p:spPr>
          <a:xfrm>
            <a:off x="10220354" y="1533115"/>
            <a:ext cx="148103" cy="37514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76" y="306917"/>
            <a:ext cx="10407909" cy="34559"/>
          </a:xfrm>
          <a:prstGeom prst="rect">
            <a:avLst/>
          </a:prstGeom>
        </p:spPr>
      </p:pic>
      <p:sp>
        <p:nvSpPr>
          <p:cNvPr id="3" name="Овал 2"/>
          <p:cNvSpPr/>
          <p:nvPr/>
        </p:nvSpPr>
        <p:spPr>
          <a:xfrm>
            <a:off x="1337364" y="2625957"/>
            <a:ext cx="1079955" cy="22070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1320318" y="5112008"/>
            <a:ext cx="863964" cy="21599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Овал 8"/>
          <p:cNvSpPr/>
          <p:nvPr/>
        </p:nvSpPr>
        <p:spPr>
          <a:xfrm>
            <a:off x="2953155" y="2117837"/>
            <a:ext cx="863964" cy="18629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6337013" y="2645035"/>
            <a:ext cx="791967" cy="18254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51912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-10113" y="300300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>
          <a:xfrm>
            <a:off x="8701799" y="343665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19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469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4151" y="2497"/>
          <a:ext cx="15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151" y="2497"/>
                        <a:ext cx="1500" cy="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2650" y="1023"/>
            <a:ext cx="149959" cy="14995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6384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079" dirty="0">
              <a:solidFill>
                <a:prstClr val="white"/>
              </a:solidFill>
              <a:latin typeface="Neo Sans Cyr Medium" panose="020B0703000000000004" pitchFamily="34" charset="0"/>
              <a:sym typeface="Neo Sans Cyr Medium" panose="020B07030000000000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9453" y="76235"/>
            <a:ext cx="9178125" cy="348879"/>
          </a:xfrm>
        </p:spPr>
        <p:txBody>
          <a:bodyPr>
            <a:noAutofit/>
          </a:bodyPr>
          <a:lstStyle/>
          <a:p>
            <a:r>
              <a:rPr lang="ru-RU" sz="2646" dirty="0">
                <a:solidFill>
                  <a:schemeClr val="tx1">
                    <a:lumMod val="50000"/>
                  </a:schemeClr>
                </a:solidFill>
              </a:rPr>
              <a:t>Повестка Дня безопасности труда</a:t>
            </a:r>
            <a:r>
              <a:rPr lang="en-US" sz="2646" dirty="0">
                <a:solidFill>
                  <a:schemeClr val="tx1">
                    <a:lumMod val="50000"/>
                  </a:schemeClr>
                </a:solidFill>
              </a:rPr>
              <a:t> </a:t>
            </a:r>
            <a:r>
              <a:rPr lang="ru-RU" sz="2646" dirty="0">
                <a:solidFill>
                  <a:schemeClr val="tx1">
                    <a:lumMod val="50000"/>
                  </a:schemeClr>
                </a:solidFill>
              </a:rPr>
              <a:t>с ПО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872351" y="481839"/>
            <a:ext cx="3097082" cy="505805"/>
          </a:xfrm>
          <a:custGeom>
            <a:avLst/>
            <a:gdLst>
              <a:gd name="connsiteX0" fmla="*/ 0 w 3468130"/>
              <a:gd name="connsiteY0" fmla="*/ 0 h 263611"/>
              <a:gd name="connsiteX1" fmla="*/ 34681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0 w 3468130"/>
              <a:gd name="connsiteY4" fmla="*/ 0 h 263611"/>
              <a:gd name="connsiteX0" fmla="*/ 180975 w 3468130"/>
              <a:gd name="connsiteY0" fmla="*/ 0 h 263611"/>
              <a:gd name="connsiteX1" fmla="*/ 34681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180975 w 3468130"/>
              <a:gd name="connsiteY4" fmla="*/ 0 h 26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8130" h="263611">
                <a:moveTo>
                  <a:pt x="180975" y="0"/>
                </a:moveTo>
                <a:lnTo>
                  <a:pt x="3468130" y="0"/>
                </a:lnTo>
                <a:lnTo>
                  <a:pt x="3468130" y="263611"/>
                </a:lnTo>
                <a:lnTo>
                  <a:pt x="0" y="263611"/>
                </a:lnTo>
                <a:lnTo>
                  <a:pt x="180975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134" dirty="0">
                <a:solidFill>
                  <a:prstClr val="white"/>
                </a:solidFill>
                <a:latin typeface="Calibri Light" panose="020F0302020204030204"/>
              </a:rPr>
              <a:t>Место проведения:</a:t>
            </a:r>
          </a:p>
          <a:p>
            <a:pPr algn="ctr" defTabSz="863843"/>
            <a:r>
              <a:rPr lang="en-US" sz="1134" dirty="0">
                <a:solidFill>
                  <a:prstClr val="white"/>
                </a:solidFill>
                <a:latin typeface="Calibri Light" panose="020F0302020204030204"/>
              </a:rPr>
              <a:t>Microsoft Teams</a:t>
            </a:r>
            <a:endParaRPr lang="ru-RU" sz="1134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78292" y="1195725"/>
            <a:ext cx="10223222" cy="3846126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endParaRPr lang="ru-RU" sz="1701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11156" y="1324816"/>
            <a:ext cx="3128623" cy="2334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415" dirty="0">
                <a:solidFill>
                  <a:prstClr val="white"/>
                </a:solidFill>
                <a:latin typeface="Calibri Light" panose="020F0302020204030204"/>
              </a:rPr>
              <a:t>Докладчик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024137" y="1324816"/>
            <a:ext cx="5175292" cy="2334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415" dirty="0">
                <a:solidFill>
                  <a:prstClr val="white"/>
                </a:solidFill>
                <a:latin typeface="Calibri Light" panose="020F0302020204030204"/>
              </a:rPr>
              <a:t>Тема доклад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352770" y="1324816"/>
            <a:ext cx="1408470" cy="2334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415" dirty="0">
                <a:solidFill>
                  <a:prstClr val="white"/>
                </a:solidFill>
                <a:latin typeface="Calibri Light" panose="020F0302020204030204"/>
              </a:rPr>
              <a:t>Время</a:t>
            </a:r>
          </a:p>
        </p:txBody>
      </p:sp>
      <p:cxnSp>
        <p:nvCxnSpPr>
          <p:cNvPr id="14" name="Прямая соединительная линия 13"/>
          <p:cNvCxnSpPr>
            <a:cxnSpLocks/>
          </p:cNvCxnSpPr>
          <p:nvPr/>
        </p:nvCxnSpPr>
        <p:spPr>
          <a:xfrm>
            <a:off x="3928428" y="1584231"/>
            <a:ext cx="15751" cy="345762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>
          <a:xfrm>
            <a:off x="9273550" y="1584232"/>
            <a:ext cx="17055" cy="3457619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711159" y="2770818"/>
            <a:ext cx="1005008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747364" y="3814653"/>
            <a:ext cx="3226685" cy="536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prstClr val="black"/>
                </a:solidFill>
              </a:rPr>
              <a:t>Ладугин Федор Дмитриевич – Менеджер по работе с подрядчиками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429151" y="2728115"/>
            <a:ext cx="1408470" cy="5753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 smtClean="0">
                <a:solidFill>
                  <a:srgbClr val="4472C4">
                    <a:lumMod val="10000"/>
                  </a:srgbClr>
                </a:solidFill>
              </a:rPr>
              <a:t>15 </a:t>
            </a:r>
            <a:r>
              <a:rPr lang="ru-RU" sz="1134" dirty="0">
                <a:solidFill>
                  <a:srgbClr val="4472C4">
                    <a:lumMod val="10000"/>
                  </a:srgbClr>
                </a:solidFill>
              </a:rPr>
              <a:t>минут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50779" y="3446770"/>
            <a:ext cx="3226685" cy="534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endParaRPr lang="ru-RU" sz="1134" dirty="0">
              <a:solidFill>
                <a:srgbClr val="4472C4">
                  <a:lumMod val="10000"/>
                </a:srgbClr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017077" y="3461659"/>
            <a:ext cx="5182361" cy="5782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endParaRPr lang="ru-RU" sz="1134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9358623" y="2273924"/>
            <a:ext cx="1408470" cy="5029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>
                <a:solidFill>
                  <a:srgbClr val="4472C4">
                    <a:lumMod val="10000"/>
                  </a:srgbClr>
                </a:solidFill>
              </a:rPr>
              <a:t> 10 минут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068351" y="5041851"/>
            <a:ext cx="8085195" cy="250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endParaRPr lang="ru-RU" sz="1134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429114" y="3500347"/>
            <a:ext cx="1408470" cy="29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endParaRPr lang="ru-RU" sz="1134" dirty="0">
              <a:solidFill>
                <a:srgbClr val="4472C4">
                  <a:lumMod val="10000"/>
                </a:srgbClr>
              </a:solidFill>
            </a:endParaRPr>
          </a:p>
        </p:txBody>
      </p:sp>
      <p:sp>
        <p:nvSpPr>
          <p:cNvPr id="41" name="Прямоугольник 3"/>
          <p:cNvSpPr/>
          <p:nvPr/>
        </p:nvSpPr>
        <p:spPr>
          <a:xfrm>
            <a:off x="1080977" y="441522"/>
            <a:ext cx="2731346" cy="511484"/>
          </a:xfrm>
          <a:custGeom>
            <a:avLst/>
            <a:gdLst>
              <a:gd name="connsiteX0" fmla="*/ 0 w 3468130"/>
              <a:gd name="connsiteY0" fmla="*/ 0 h 263611"/>
              <a:gd name="connsiteX1" fmla="*/ 34681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0 w 3468130"/>
              <a:gd name="connsiteY4" fmla="*/ 0 h 263611"/>
              <a:gd name="connsiteX0" fmla="*/ 0 w 3468130"/>
              <a:gd name="connsiteY0" fmla="*/ 0 h 263611"/>
              <a:gd name="connsiteX1" fmla="*/ 32649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0 w 3468130"/>
              <a:gd name="connsiteY4" fmla="*/ 0 h 26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8130" h="263611">
                <a:moveTo>
                  <a:pt x="0" y="0"/>
                </a:moveTo>
                <a:lnTo>
                  <a:pt x="3264930" y="0"/>
                </a:lnTo>
                <a:lnTo>
                  <a:pt x="3468130" y="263611"/>
                </a:lnTo>
                <a:lnTo>
                  <a:pt x="0" y="2636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134" dirty="0">
                <a:solidFill>
                  <a:prstClr val="white"/>
                </a:solidFill>
                <a:latin typeface="Calibri Light" panose="020F0302020204030204"/>
              </a:rPr>
              <a:t>                               Время                            </a:t>
            </a:r>
            <a:r>
              <a:rPr lang="ru-RU" sz="1134" dirty="0" smtClean="0">
                <a:solidFill>
                  <a:prstClr val="white"/>
                </a:solidFill>
                <a:latin typeface="Calibri Light" panose="020F0302020204030204"/>
              </a:rPr>
              <a:t>    13:00-14:00</a:t>
            </a:r>
            <a:endParaRPr lang="ru-RU" sz="1134" dirty="0">
              <a:solidFill>
                <a:prstClr val="white"/>
              </a:solidFill>
              <a:latin typeface="Calibri Light" panose="020F0302020204030204"/>
            </a:endParaRPr>
          </a:p>
          <a:p>
            <a:pPr algn="ctr" defTabSz="863843"/>
            <a:endParaRPr lang="ru-RU" sz="1134" dirty="0">
              <a:solidFill>
                <a:prstClr val="white"/>
              </a:solidFill>
              <a:latin typeface="Calibri Light" panose="020F0302020204030204"/>
            </a:endParaRPr>
          </a:p>
        </p:txBody>
      </p:sp>
      <p:sp>
        <p:nvSpPr>
          <p:cNvPr id="42" name="Прямоугольник 3"/>
          <p:cNvSpPr/>
          <p:nvPr/>
        </p:nvSpPr>
        <p:spPr>
          <a:xfrm>
            <a:off x="578292" y="441522"/>
            <a:ext cx="1424034" cy="505805"/>
          </a:xfrm>
          <a:custGeom>
            <a:avLst/>
            <a:gdLst>
              <a:gd name="connsiteX0" fmla="*/ 0 w 3468130"/>
              <a:gd name="connsiteY0" fmla="*/ 0 h 263611"/>
              <a:gd name="connsiteX1" fmla="*/ 34681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0 w 3468130"/>
              <a:gd name="connsiteY4" fmla="*/ 0 h 263611"/>
              <a:gd name="connsiteX0" fmla="*/ 0 w 3468130"/>
              <a:gd name="connsiteY0" fmla="*/ 0 h 263611"/>
              <a:gd name="connsiteX1" fmla="*/ 3264930 w 3468130"/>
              <a:gd name="connsiteY1" fmla="*/ 0 h 263611"/>
              <a:gd name="connsiteX2" fmla="*/ 3468130 w 3468130"/>
              <a:gd name="connsiteY2" fmla="*/ 263611 h 263611"/>
              <a:gd name="connsiteX3" fmla="*/ 0 w 3468130"/>
              <a:gd name="connsiteY3" fmla="*/ 263611 h 263611"/>
              <a:gd name="connsiteX4" fmla="*/ 0 w 3468130"/>
              <a:gd name="connsiteY4" fmla="*/ 0 h 26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8130" h="263611">
                <a:moveTo>
                  <a:pt x="0" y="0"/>
                </a:moveTo>
                <a:lnTo>
                  <a:pt x="3264930" y="0"/>
                </a:lnTo>
                <a:lnTo>
                  <a:pt x="3468130" y="263611"/>
                </a:lnTo>
                <a:lnTo>
                  <a:pt x="0" y="2636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79" tIns="43160" rIns="85579" bIns="43160" rtlCol="0" anchor="ctr"/>
          <a:lstStyle/>
          <a:p>
            <a:pPr algn="ctr" defTabSz="863843"/>
            <a:r>
              <a:rPr lang="ru-RU" sz="1134" dirty="0">
                <a:solidFill>
                  <a:prstClr val="white"/>
                </a:solidFill>
                <a:latin typeface="Calibri Light" panose="020F0302020204030204"/>
              </a:rPr>
              <a:t>Дата:</a:t>
            </a:r>
          </a:p>
          <a:p>
            <a:pPr algn="ctr" defTabSz="863843"/>
            <a:r>
              <a:rPr lang="ru-RU" sz="1134" dirty="0" smtClean="0">
                <a:solidFill>
                  <a:prstClr val="white"/>
                </a:solidFill>
                <a:latin typeface="Calibri Light" panose="020F0302020204030204"/>
              </a:rPr>
              <a:t>12.04.2022 </a:t>
            </a:r>
            <a:r>
              <a:rPr lang="ru-RU" sz="1134" dirty="0">
                <a:solidFill>
                  <a:prstClr val="white"/>
                </a:solidFill>
                <a:latin typeface="Calibri Light" panose="020F0302020204030204"/>
              </a:rPr>
              <a:t>г.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6C4026A3-12FE-43C6-A4C6-FB557B725992}"/>
              </a:ext>
            </a:extLst>
          </p:cNvPr>
          <p:cNvSpPr/>
          <p:nvPr/>
        </p:nvSpPr>
        <p:spPr>
          <a:xfrm>
            <a:off x="4083135" y="3760402"/>
            <a:ext cx="5182361" cy="5605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srgbClr val="F2F2F2">
                    <a:lumMod val="10000"/>
                  </a:srgbClr>
                </a:solidFill>
              </a:rPr>
              <a:t>Внедренные инструменты в работе с подрядными организациями. Чек-лист самооценки рабочего места. Установочные совещания. </a:t>
            </a:r>
            <a:r>
              <a:rPr lang="ru-RU" sz="1134" dirty="0" smtClean="0">
                <a:solidFill>
                  <a:srgbClr val="F2F2F2">
                    <a:lumMod val="10000"/>
                  </a:srgbClr>
                </a:solidFill>
              </a:rPr>
              <a:t>Комитет по работе с ПО.</a:t>
            </a:r>
            <a:endParaRPr lang="ru-RU" sz="756" dirty="0">
              <a:solidFill>
                <a:srgbClr val="F2F2F2">
                  <a:lumMod val="10000"/>
                </a:srgbClr>
              </a:solidFill>
            </a:endParaRPr>
          </a:p>
        </p:txBody>
      </p: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853D96DE-A07A-434A-B8A3-289FC45A25FB}"/>
              </a:ext>
            </a:extLst>
          </p:cNvPr>
          <p:cNvCxnSpPr/>
          <p:nvPr/>
        </p:nvCxnSpPr>
        <p:spPr>
          <a:xfrm>
            <a:off x="711156" y="2123422"/>
            <a:ext cx="1005008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739B504B-D44C-43F4-93E7-A44D8BBB9B30}"/>
              </a:ext>
            </a:extLst>
          </p:cNvPr>
          <p:cNvSpPr/>
          <p:nvPr/>
        </p:nvSpPr>
        <p:spPr>
          <a:xfrm>
            <a:off x="683700" y="1531472"/>
            <a:ext cx="3128623" cy="549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prstClr val="black"/>
                </a:solidFill>
              </a:rPr>
              <a:t>Горлов Андрей Сергеевич – Супервайзер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A5DD1E3E-C1EF-4C35-A860-FE888FE046DC}"/>
              </a:ext>
            </a:extLst>
          </p:cNvPr>
          <p:cNvSpPr/>
          <p:nvPr/>
        </p:nvSpPr>
        <p:spPr>
          <a:xfrm>
            <a:off x="4017069" y="1584230"/>
            <a:ext cx="5182361" cy="539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endParaRPr lang="ru-RU" sz="1134" dirty="0">
              <a:solidFill>
                <a:prstClr val="white"/>
              </a:solidFill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E8DED27D-CD87-49C5-989C-157140E5D68F}"/>
              </a:ext>
            </a:extLst>
          </p:cNvPr>
          <p:cNvSpPr/>
          <p:nvPr/>
        </p:nvSpPr>
        <p:spPr>
          <a:xfrm>
            <a:off x="9358623" y="1584230"/>
            <a:ext cx="1408470" cy="539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 smtClean="0">
                <a:solidFill>
                  <a:prstClr val="black"/>
                </a:solidFill>
              </a:rPr>
              <a:t>10 </a:t>
            </a:r>
            <a:r>
              <a:rPr lang="ru-RU" sz="1134" dirty="0">
                <a:solidFill>
                  <a:prstClr val="black"/>
                </a:solidFill>
              </a:rPr>
              <a:t>минут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410DA48-DAE1-4D2E-BF4E-C6FD9D75F2F8}"/>
              </a:ext>
            </a:extLst>
          </p:cNvPr>
          <p:cNvSpPr/>
          <p:nvPr/>
        </p:nvSpPr>
        <p:spPr>
          <a:xfrm>
            <a:off x="9472304" y="3419336"/>
            <a:ext cx="1408470" cy="292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 smtClean="0">
                <a:solidFill>
                  <a:srgbClr val="4472C4">
                    <a:lumMod val="10000"/>
                  </a:srgbClr>
                </a:solidFill>
              </a:rPr>
              <a:t>10  </a:t>
            </a:r>
            <a:r>
              <a:rPr lang="ru-RU" sz="1134" dirty="0">
                <a:solidFill>
                  <a:srgbClr val="4472C4">
                    <a:lumMod val="10000"/>
                  </a:srgbClr>
                </a:solidFill>
              </a:rPr>
              <a:t>минут</a:t>
            </a:r>
          </a:p>
        </p:txBody>
      </p: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53C50104-32B7-4F31-BC31-CC5F6700322C}"/>
              </a:ext>
            </a:extLst>
          </p:cNvPr>
          <p:cNvCxnSpPr/>
          <p:nvPr/>
        </p:nvCxnSpPr>
        <p:spPr>
          <a:xfrm>
            <a:off x="786382" y="3824222"/>
            <a:ext cx="998363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4BC2134B-063A-4D22-A974-980C3FE1EDA2}"/>
              </a:ext>
            </a:extLst>
          </p:cNvPr>
          <p:cNvSpPr/>
          <p:nvPr/>
        </p:nvSpPr>
        <p:spPr>
          <a:xfrm>
            <a:off x="4108244" y="3276167"/>
            <a:ext cx="5182361" cy="470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srgbClr val="F2F2F2">
                    <a:lumMod val="10000"/>
                  </a:srgbClr>
                </a:solidFill>
              </a:rPr>
              <a:t>Рейтинг ПО. Динамика.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147D5BA1-187A-4749-A2E4-462F8C8331CF}"/>
              </a:ext>
            </a:extLst>
          </p:cNvPr>
          <p:cNvSpPr/>
          <p:nvPr/>
        </p:nvSpPr>
        <p:spPr>
          <a:xfrm>
            <a:off x="9428730" y="3752214"/>
            <a:ext cx="1408470" cy="468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 smtClean="0">
                <a:solidFill>
                  <a:srgbClr val="4472C4">
                    <a:lumMod val="10000"/>
                  </a:srgbClr>
                </a:solidFill>
              </a:rPr>
              <a:t> 10 минут</a:t>
            </a:r>
            <a:endParaRPr lang="ru-RU" sz="1134" dirty="0">
              <a:solidFill>
                <a:srgbClr val="4472C4">
                  <a:lumMod val="10000"/>
                </a:srgbClr>
              </a:solidFill>
            </a:endParaRPr>
          </a:p>
        </p:txBody>
      </p: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94849C4D-ED17-4CDD-A8EB-D84AA5EF60E0}"/>
              </a:ext>
            </a:extLst>
          </p:cNvPr>
          <p:cNvCxnSpPr/>
          <p:nvPr/>
        </p:nvCxnSpPr>
        <p:spPr>
          <a:xfrm>
            <a:off x="838107" y="3278215"/>
            <a:ext cx="998363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12">
            <a:extLst>
              <a:ext uri="{FF2B5EF4-FFF2-40B4-BE49-F238E27FC236}">
                <a16:creationId xmlns:a16="http://schemas.microsoft.com/office/drawing/2014/main" id="{9D96E40C-5291-4258-ACDE-55FC6998C3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151912"/>
            <a:fld id="{1E5EB7E5-F709-4EF6-8A34-B7FBD607401D}" type="slidenum">
              <a:rPr lang="ru-RU">
                <a:solidFill>
                  <a:prstClr val="black">
                    <a:tint val="75000"/>
                  </a:prstClr>
                </a:solidFill>
              </a:rPr>
              <a:pPr defTabSz="1151912"/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94849C4D-ED17-4CDD-A8EB-D84AA5EF60E0}"/>
              </a:ext>
            </a:extLst>
          </p:cNvPr>
          <p:cNvCxnSpPr/>
          <p:nvPr/>
        </p:nvCxnSpPr>
        <p:spPr>
          <a:xfrm>
            <a:off x="813207" y="4439810"/>
            <a:ext cx="9983636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>
          <a:xfrm>
            <a:off x="771484" y="4439811"/>
            <a:ext cx="3226685" cy="536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 smtClean="0">
                <a:solidFill>
                  <a:srgbClr val="4472C4">
                    <a:lumMod val="10000"/>
                  </a:srgbClr>
                </a:solidFill>
              </a:rPr>
              <a:t>Ладугин Фёдор Дмитриевич – </a:t>
            </a:r>
            <a:r>
              <a:rPr lang="ru-RU" sz="1134" dirty="0">
                <a:solidFill>
                  <a:prstClr val="black"/>
                </a:solidFill>
              </a:rPr>
              <a:t>Менеджер по работе с подрядчиками</a:t>
            </a:r>
          </a:p>
          <a:p>
            <a:pPr defTabSz="863843"/>
            <a:r>
              <a:rPr lang="ru-RU" sz="1134" dirty="0" smtClean="0">
                <a:solidFill>
                  <a:srgbClr val="4472C4">
                    <a:lumMod val="10000"/>
                  </a:srgbClr>
                </a:solidFill>
              </a:rPr>
              <a:t> </a:t>
            </a:r>
            <a:endParaRPr lang="ru-RU" sz="1134" dirty="0">
              <a:solidFill>
                <a:srgbClr val="4472C4">
                  <a:lumMod val="10000"/>
                </a:srgbClr>
              </a:solidFill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4054128" y="1604206"/>
            <a:ext cx="5182361" cy="5320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srgbClr val="F2F2F2">
                    <a:lumMod val="10000"/>
                  </a:srgbClr>
                </a:solidFill>
              </a:rPr>
              <a:t>Вступительное слово. Контакт по безопасности.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4103953" y="4602003"/>
            <a:ext cx="8085195" cy="288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srgbClr val="F2F2F2">
                    <a:lumMod val="10000"/>
                  </a:srgbClr>
                </a:solidFill>
              </a:rPr>
              <a:t>Заключительное слово.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717494" y="3450785"/>
            <a:ext cx="3226685" cy="536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endParaRPr lang="ru-RU" sz="1134" dirty="0">
              <a:solidFill>
                <a:srgbClr val="4472C4">
                  <a:lumMod val="10000"/>
                </a:srgbClr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052672" y="2898622"/>
            <a:ext cx="4551851" cy="250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srgbClr val="F2F2F2">
                    <a:lumMod val="10000"/>
                  </a:srgbClr>
                </a:solidFill>
              </a:rPr>
              <a:t> Тестирование ПО. Регистрация наблюдений в системе АСУБ.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739B504B-D44C-43F4-93E7-A44D8BBB9B30}"/>
              </a:ext>
            </a:extLst>
          </p:cNvPr>
          <p:cNvSpPr/>
          <p:nvPr/>
        </p:nvSpPr>
        <p:spPr>
          <a:xfrm>
            <a:off x="742703" y="2781265"/>
            <a:ext cx="3128623" cy="549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prstClr val="black"/>
                </a:solidFill>
              </a:rPr>
              <a:t>Пилясов Павел Александрович– Супервайзер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737384" y="3287671"/>
            <a:ext cx="3226685" cy="536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prstClr val="black"/>
                </a:solidFill>
              </a:rPr>
              <a:t>Балашов Дмитрий Алексеевич – </a:t>
            </a:r>
            <a:r>
              <a:rPr lang="ru-RU" sz="1134" dirty="0" smtClean="0">
                <a:solidFill>
                  <a:prstClr val="black"/>
                </a:solidFill>
              </a:rPr>
              <a:t>Супервайзер</a:t>
            </a:r>
            <a:endParaRPr lang="ru-RU" sz="1134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004240" y="2338016"/>
            <a:ext cx="923651" cy="26686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/>
            <a:r>
              <a:rPr lang="ru-RU" sz="1134" dirty="0" smtClean="0">
                <a:solidFill>
                  <a:srgbClr val="F2F2F2">
                    <a:lumMod val="10000"/>
                  </a:srgbClr>
                </a:solidFill>
              </a:rPr>
              <a:t>Статистика.</a:t>
            </a:r>
            <a:endParaRPr lang="ru-RU" sz="1134" dirty="0">
              <a:solidFill>
                <a:srgbClr val="F2F2F2">
                  <a:lumMod val="10000"/>
                </a:srgbClr>
              </a:solidFill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739B504B-D44C-43F4-93E7-A44D8BBB9B30}"/>
              </a:ext>
            </a:extLst>
          </p:cNvPr>
          <p:cNvSpPr/>
          <p:nvPr/>
        </p:nvSpPr>
        <p:spPr>
          <a:xfrm>
            <a:off x="711156" y="2141876"/>
            <a:ext cx="3128623" cy="5493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defTabSz="863843"/>
            <a:r>
              <a:rPr lang="ru-RU" sz="1134" dirty="0">
                <a:solidFill>
                  <a:prstClr val="black"/>
                </a:solidFill>
              </a:rPr>
              <a:t>Горлов Андрей Сергеевич – Супервайзер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A9682173-F641-4AC9-AE0C-FAC9C5D2883F}"/>
              </a:ext>
            </a:extLst>
          </p:cNvPr>
          <p:cNvSpPr/>
          <p:nvPr/>
        </p:nvSpPr>
        <p:spPr>
          <a:xfrm>
            <a:off x="9428647" y="4347012"/>
            <a:ext cx="1408470" cy="560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981" tIns="33981" rIns="33981" bIns="33981" rtlCol="0" anchor="ctr"/>
          <a:lstStyle/>
          <a:p>
            <a:pPr algn="ctr" defTabSz="863843"/>
            <a:r>
              <a:rPr lang="ru-RU" sz="1134" dirty="0">
                <a:solidFill>
                  <a:srgbClr val="4472C4">
                    <a:lumMod val="10000"/>
                  </a:srgbClr>
                </a:solidFill>
              </a:rPr>
              <a:t>5 минут</a:t>
            </a:r>
          </a:p>
        </p:txBody>
      </p:sp>
    </p:spTree>
    <p:extLst>
      <p:ext uri="{BB962C8B-B14F-4D97-AF65-F5344CB8AC3E}">
        <p14:creationId xmlns:p14="http://schemas.microsoft.com/office/powerpoint/2010/main" val="13425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155" y="1035095"/>
            <a:ext cx="9482933" cy="1808777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16" name="Овал 15"/>
          <p:cNvSpPr/>
          <p:nvPr/>
        </p:nvSpPr>
        <p:spPr>
          <a:xfrm>
            <a:off x="9072899" y="994977"/>
            <a:ext cx="1056499" cy="420511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38203" y="614165"/>
            <a:ext cx="4995278" cy="9092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>
              <a:lnSpc>
                <a:spcPct val="107000"/>
              </a:lnSpc>
              <a:spcAft>
                <a:spcPts val="756"/>
              </a:spcAft>
            </a:pPr>
            <a:r>
              <a:rPr lang="ru-RU" sz="1512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тегория Подкатегория Характер наблюдения</a:t>
            </a:r>
            <a:endParaRPr lang="ru-RU" sz="1512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defTabSz="863843"/>
            <a:endParaRPr lang="ru-RU" sz="1512" dirty="0">
              <a:solidFill>
                <a:prstClr val="black"/>
              </a:solidFill>
              <a:latin typeface="Calibri" panose="020F0502020204030204"/>
            </a:endParaRPr>
          </a:p>
          <a:p>
            <a:pPr defTabSz="863843"/>
            <a:endParaRPr lang="ru-RU" sz="1512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64" y="307145"/>
            <a:ext cx="10413670" cy="3455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24850" y="1068740"/>
            <a:ext cx="688542" cy="34674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34" y="2952099"/>
            <a:ext cx="9557134" cy="336454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826032" y="3672070"/>
            <a:ext cx="4791011" cy="251989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26033" y="5831978"/>
            <a:ext cx="2231907" cy="197769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8784910" y="2952099"/>
            <a:ext cx="935961" cy="356952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96279" y="2962304"/>
            <a:ext cx="688542" cy="346748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4886152" y="3120063"/>
            <a:ext cx="176522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Регистрация наблюден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-69505" y="332031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569349" y="341704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20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5018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" y="329694"/>
            <a:ext cx="10413670" cy="34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503" y="1315440"/>
            <a:ext cx="9961744" cy="4190555"/>
          </a:xfrm>
          <a:prstGeom prst="rect">
            <a:avLst/>
          </a:prstGeom>
          <a:ln w="25400">
            <a:solidFill>
              <a:schemeClr val="bg1">
                <a:lumMod val="50000"/>
              </a:schemeClr>
            </a:solidFill>
          </a:ln>
        </p:spPr>
      </p:pic>
      <p:sp>
        <p:nvSpPr>
          <p:cNvPr id="12" name="Овал 11"/>
          <p:cNvSpPr/>
          <p:nvPr/>
        </p:nvSpPr>
        <p:spPr>
          <a:xfrm>
            <a:off x="573411" y="2042128"/>
            <a:ext cx="1180065" cy="27750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592391" y="2764494"/>
            <a:ext cx="1295945" cy="28798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556576" y="3455543"/>
            <a:ext cx="1213735" cy="287988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09161" y="857226"/>
            <a:ext cx="4995278" cy="3413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>
              <a:lnSpc>
                <a:spcPct val="107000"/>
              </a:lnSpc>
              <a:spcAft>
                <a:spcPts val="756"/>
              </a:spcAft>
            </a:pPr>
            <a:r>
              <a:rPr lang="ru-RU" sz="1512" dirty="0">
                <a:solidFill>
                  <a:srgbClr val="767171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тегория Подкатегория Характер наблюдения</a:t>
            </a:r>
            <a:endParaRPr lang="ru-RU" sz="1512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82" y="37595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497341" y="375959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21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51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85" y="1258007"/>
            <a:ext cx="10183021" cy="648009"/>
          </a:xfrm>
          <a:prstGeom prst="rect">
            <a:avLst/>
          </a:prstGeom>
          <a:ln w="25400">
            <a:solidFill>
              <a:schemeClr val="bg2">
                <a:lumMod val="50000"/>
              </a:schemeClr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566" y="2246040"/>
            <a:ext cx="10183021" cy="3531708"/>
          </a:xfrm>
          <a:prstGeom prst="rect">
            <a:avLst/>
          </a:prstGeom>
          <a:ln w="25400">
            <a:solidFill>
              <a:schemeClr val="bg2">
                <a:lumMod val="50000"/>
              </a:schemeClr>
            </a:solidFill>
          </a:ln>
        </p:spPr>
      </p:pic>
      <p:sp>
        <p:nvSpPr>
          <p:cNvPr id="4" name="Прямоугольник 3"/>
          <p:cNvSpPr/>
          <p:nvPr/>
        </p:nvSpPr>
        <p:spPr>
          <a:xfrm>
            <a:off x="2971462" y="5136467"/>
            <a:ext cx="5995552" cy="33900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>
              <a:lnSpc>
                <a:spcPct val="106000"/>
              </a:lnSpc>
              <a:spcAft>
                <a:spcPts val="756"/>
              </a:spcAft>
            </a:pPr>
            <a:r>
              <a:rPr lang="ru-RU" sz="1512" b="1" dirty="0">
                <a:solidFill>
                  <a:srgbClr val="76717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Вложить файл(</a:t>
            </a:r>
            <a:r>
              <a:rPr lang="ru-RU" sz="1512" b="1" dirty="0" err="1">
                <a:solidFill>
                  <a:srgbClr val="76717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фото,документ</a:t>
            </a:r>
            <a:r>
              <a:rPr lang="ru-RU" sz="1512" b="1" dirty="0">
                <a:solidFill>
                  <a:srgbClr val="76717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при необходимости</a:t>
            </a:r>
            <a:endParaRPr lang="ru-RU" sz="1512" dirty="0">
              <a:solidFill>
                <a:prstClr val="black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8928905" y="2246040"/>
            <a:ext cx="1349830" cy="484262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3843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753" y="303639"/>
            <a:ext cx="10413670" cy="3455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94440" y="2384714"/>
            <a:ext cx="691172" cy="345587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4393095" y="814564"/>
            <a:ext cx="2218877" cy="3558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51912">
              <a:lnSpc>
                <a:spcPct val="107000"/>
              </a:lnSpc>
              <a:spcAft>
                <a:spcPts val="799"/>
              </a:spcAft>
            </a:pPr>
            <a:r>
              <a:rPr lang="ru-RU" sz="1600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Файлы и влож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82" y="345030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93145" y="345030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22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058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715" y="1099916"/>
            <a:ext cx="9604738" cy="4964140"/>
          </a:xfrm>
          <a:prstGeom prst="rect">
            <a:avLst/>
          </a:prstGeom>
          <a:ln w="25400">
            <a:solidFill>
              <a:sysClr val="windowText" lastClr="000000">
                <a:lumMod val="65000"/>
                <a:lumOff val="35000"/>
              </a:sysClr>
            </a:solidFill>
          </a:ln>
        </p:spPr>
      </p:pic>
      <p:sp>
        <p:nvSpPr>
          <p:cNvPr id="5" name="Прямоугольник 4"/>
          <p:cNvSpPr/>
          <p:nvPr/>
        </p:nvSpPr>
        <p:spPr>
          <a:xfrm>
            <a:off x="9566653" y="2884813"/>
            <a:ext cx="1826663" cy="252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3843">
              <a:defRPr/>
            </a:pPr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endParaRPr lang="ru-RU" sz="1701" dirty="0">
              <a:solidFill>
                <a:prstClr val="black">
                  <a:lumMod val="65000"/>
                  <a:lumOff val="35000"/>
                </a:prst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686442" y="4137212"/>
            <a:ext cx="231154" cy="2520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3843">
              <a:defRPr/>
            </a:pPr>
            <a:r>
              <a:rPr lang="ru-RU" sz="1038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endParaRPr lang="ru-RU" sz="1701" dirty="0">
              <a:solidFill>
                <a:srgbClr val="E7E6E6">
                  <a:lumMod val="5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8130" y="385188"/>
            <a:ext cx="10407909" cy="3455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3787" y="947714"/>
            <a:ext cx="725732" cy="89280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0800000">
            <a:off x="9485880" y="1840523"/>
            <a:ext cx="311029" cy="62205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882" y="39873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500675" y="423482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23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976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901" y="1557042"/>
            <a:ext cx="9738754" cy="4451896"/>
          </a:xfrm>
          <a:prstGeom prst="rect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" name="Овал 5"/>
          <p:cNvSpPr/>
          <p:nvPr/>
        </p:nvSpPr>
        <p:spPr>
          <a:xfrm>
            <a:off x="4784756" y="5409146"/>
            <a:ext cx="1611044" cy="270007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>
              <a:defRPr/>
            </a:pPr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1306" y="5409145"/>
            <a:ext cx="685518" cy="345640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4423" y="3113353"/>
            <a:ext cx="3773229" cy="25346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882" y="39873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746" y="364180"/>
            <a:ext cx="10407909" cy="3455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622550" y="974491"/>
            <a:ext cx="6607899" cy="3724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151912">
              <a:lnSpc>
                <a:spcPct val="107000"/>
              </a:lnSpc>
              <a:spcAft>
                <a:spcPts val="799"/>
              </a:spcAft>
            </a:pPr>
            <a:r>
              <a:rPr lang="ru-RU" sz="1701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Исполнение задач, отчет об устранении несоответствия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497341" y="412490"/>
            <a:ext cx="2592467" cy="345009"/>
          </a:xfrm>
        </p:spPr>
        <p:txBody>
          <a:bodyPr/>
          <a:lstStyle/>
          <a:p>
            <a:fld id="{7ADFE5CF-520E-4B91-B7DF-CB6E75556A97}" type="slidenum">
              <a:rPr lang="ru-RU" smtClean="0">
                <a:solidFill>
                  <a:srgbClr val="C00000"/>
                </a:solidFill>
              </a:rPr>
              <a:t>24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26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943" y="1261670"/>
            <a:ext cx="10541084" cy="4862095"/>
          </a:xfrm>
          <a:prstGeom prst="rec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10793" y="2760489"/>
            <a:ext cx="311076" cy="62215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8130" y="385188"/>
            <a:ext cx="10407909" cy="3455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882" y="39873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494006" y="766588"/>
            <a:ext cx="6822127" cy="372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51912">
              <a:lnSpc>
                <a:spcPct val="107000"/>
              </a:lnSpc>
              <a:spcAft>
                <a:spcPts val="799"/>
              </a:spcAft>
            </a:pPr>
            <a:r>
              <a:rPr lang="ru-RU" sz="1701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Исполнение задач, отчет об устранении несоответств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569109" y="435257"/>
            <a:ext cx="2592467" cy="345009"/>
          </a:xfrm>
        </p:spPr>
        <p:txBody>
          <a:bodyPr/>
          <a:lstStyle/>
          <a:p>
            <a:fld id="{221CC770-E8A7-42BF-941A-01B8BCD4854B}" type="slidenum">
              <a:rPr lang="ru-RU" smtClean="0">
                <a:solidFill>
                  <a:srgbClr val="C00000"/>
                </a:solidFill>
              </a:rPr>
              <a:t>25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86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31" y="1324344"/>
            <a:ext cx="10423263" cy="3887009"/>
          </a:xfrm>
          <a:prstGeom prst="rect">
            <a:avLst/>
          </a:prstGeom>
          <a:ln w="25400">
            <a:solidFill>
              <a:schemeClr val="tx1">
                <a:lumMod val="65000"/>
                <a:lumOff val="35000"/>
              </a:schemeClr>
            </a:solidFill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65714" y="1963730"/>
            <a:ext cx="311076" cy="622151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9556190" y="1163062"/>
            <a:ext cx="684018" cy="759953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>
              <a:defRPr/>
            </a:pPr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0800000" flipV="1">
            <a:off x="773206" y="2415564"/>
            <a:ext cx="644061" cy="32962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69355" y="2183016"/>
            <a:ext cx="1947102" cy="100811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8546" y="2127797"/>
            <a:ext cx="996593" cy="2707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8130" y="385188"/>
            <a:ext cx="10407909" cy="34559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882" y="398739"/>
            <a:ext cx="3788217" cy="2451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771426">
              <a:lnSpc>
                <a:spcPct val="107000"/>
              </a:lnSpc>
              <a:spcAft>
                <a:spcPts val="675"/>
              </a:spcAft>
            </a:pPr>
            <a:r>
              <a:rPr lang="ru-RU" sz="928" dirty="0">
                <a:solidFill>
                  <a:prstClr val="white">
                    <a:lumMod val="50000"/>
                  </a:prst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Автоматизированная Система Управления Безопасностью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350958" y="5693012"/>
            <a:ext cx="1236236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/>
            <a:r>
              <a:rPr lang="ru-RU" sz="1701" dirty="0">
                <a:solidFill>
                  <a:prstClr val="black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о;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516457" y="5693012"/>
            <a:ext cx="1343638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>
              <a:defRPr/>
            </a:pPr>
            <a:r>
              <a:rPr lang="ru-RU" sz="1701" dirty="0">
                <a:solidFill>
                  <a:prstClr val="black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страним;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737600" y="5693012"/>
            <a:ext cx="1851789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>
              <a:defRPr/>
            </a:pPr>
            <a:r>
              <a:rPr lang="ru-RU" sz="1701" dirty="0">
                <a:solidFill>
                  <a:prstClr val="black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работаем; 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987064" y="5693012"/>
            <a:ext cx="1059906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>
              <a:defRPr/>
            </a:pPr>
            <a:r>
              <a:rPr lang="ru-RU" sz="1701" dirty="0">
                <a:solidFill>
                  <a:prstClr val="black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орошо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343081" y="5598150"/>
            <a:ext cx="6841495" cy="517799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64017"/>
            <a:endParaRPr lang="ru-RU" sz="1701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410099" y="5693012"/>
            <a:ext cx="1641796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864017">
              <a:defRPr/>
            </a:pPr>
            <a:r>
              <a:rPr lang="ru-RU" sz="1701" dirty="0">
                <a:solidFill>
                  <a:prstClr val="black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равимся;</a:t>
            </a:r>
            <a:endParaRPr lang="ru-RU" sz="1701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5223326" y="5168430"/>
            <a:ext cx="819307" cy="1154649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H="1">
            <a:off x="5126570" y="5095859"/>
            <a:ext cx="1125003" cy="122722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2327076" y="797925"/>
            <a:ext cx="6611804" cy="3724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51912">
              <a:lnSpc>
                <a:spcPct val="107000"/>
              </a:lnSpc>
              <a:spcAft>
                <a:spcPts val="799"/>
              </a:spcAft>
            </a:pPr>
            <a:r>
              <a:rPr lang="ru-RU" sz="1701" dirty="0">
                <a:solidFill>
                  <a:srgbClr val="E7E6E6">
                    <a:lumMod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Исполнение задач, отчет об устранении несоответствия</a:t>
            </a: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8601965" y="432558"/>
            <a:ext cx="2592467" cy="345009"/>
          </a:xfrm>
        </p:spPr>
        <p:txBody>
          <a:bodyPr/>
          <a:lstStyle/>
          <a:p>
            <a:fld id="{7ADFE5CF-520E-4B91-B7DF-CB6E75556A97}" type="slidenum">
              <a:rPr lang="ru-RU" smtClean="0">
                <a:solidFill>
                  <a:srgbClr val="C00000"/>
                </a:solidFill>
              </a:rPr>
              <a:t>26</a:t>
            </a:fld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163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безопасности труда с подрядными организациями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A1584F74-92CE-481B-9F91-C1014731D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28789" y="2592015"/>
            <a:ext cx="10214356" cy="864126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</a:rPr>
              <a:t>Динамика</a:t>
            </a:r>
          </a:p>
        </p:txBody>
      </p:sp>
      <p:pic>
        <p:nvPicPr>
          <p:cNvPr id="8" name="Рисунок 7" descr="график-роста-продаж-иллюстрация-графика-159705606.jpg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5471" t="3333" r="6996" b="10000"/>
          <a:stretch>
            <a:fillRect/>
          </a:stretch>
        </p:blipFill>
        <p:spPr>
          <a:xfrm>
            <a:off x="864493" y="1943943"/>
            <a:ext cx="2392636" cy="1944017"/>
          </a:xfrm>
          <a:prstGeom prst="rect">
            <a:avLst/>
          </a:prstGeom>
        </p:spPr>
      </p:pic>
      <p:sp>
        <p:nvSpPr>
          <p:cNvPr id="5" name="Текст 6">
            <a:extLst>
              <a:ext uri="{FF2B5EF4-FFF2-40B4-BE49-F238E27FC236}">
                <a16:creationId xmlns:a16="http://schemas.microsoft.com/office/drawing/2014/main" id="{8E6B8E05-B925-406A-B527-E6B8316ACA98}"/>
              </a:ext>
            </a:extLst>
          </p:cNvPr>
          <p:cNvSpPr txBox="1">
            <a:spLocks/>
          </p:cNvSpPr>
          <p:nvPr/>
        </p:nvSpPr>
        <p:spPr>
          <a:xfrm>
            <a:off x="279247" y="371976"/>
            <a:ext cx="2447925" cy="272252"/>
          </a:xfrm>
          <a:prstGeom prst="rect">
            <a:avLst/>
          </a:prstGeom>
        </p:spPr>
        <p:txBody>
          <a:bodyPr vert="horz" lIns="115214" tIns="57607" rIns="115214" bIns="57607" rtlCol="0">
            <a:normAutofit lnSpcReduction="10000"/>
          </a:bodyPr>
          <a:lstStyle>
            <a:lvl1pPr marL="0" indent="0" algn="l" defTabSz="1152144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936117" indent="-360045" algn="l" defTabSz="115214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180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16252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92324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инамика</a:t>
            </a:r>
          </a:p>
        </p:txBody>
      </p:sp>
      <p:pic>
        <p:nvPicPr>
          <p:cNvPr id="9" name="Рисунок 8" descr="image00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8469" y="4896271"/>
            <a:ext cx="3086100" cy="117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2739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:a16="http://schemas.microsoft.com/office/drawing/2014/main" id="{067B466C-D309-42E8-AD21-B87A879D314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04453" y="647799"/>
            <a:ext cx="10511558" cy="431981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ru-RU" b="1" dirty="0" smtClean="0"/>
              <a:t>Подрядная организация </a:t>
            </a:r>
            <a:r>
              <a:rPr lang="ru-RU" b="1" dirty="0"/>
              <a:t>с положительной динамикой изменения коэффициента безопасности за 3</a:t>
            </a:r>
            <a:r>
              <a:rPr lang="ru-RU" b="1" dirty="0" smtClean="0"/>
              <a:t> месяца 2022г.</a:t>
            </a:r>
            <a:endParaRPr lang="ru-RU" b="1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1C5055E-B13E-4C7B-BA76-044103A34DB6}"/>
              </a:ext>
            </a:extLst>
          </p:cNvPr>
          <p:cNvSpPr txBox="1">
            <a:spLocks/>
          </p:cNvSpPr>
          <p:nvPr/>
        </p:nvSpPr>
        <p:spPr>
          <a:xfrm>
            <a:off x="9649469" y="5976391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</a:t>
            </a:r>
            <a:r>
              <a:rPr kumimoji="0" lang="ru-RU" sz="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безопасности</a:t>
            </a:r>
            <a:endParaRPr kumimoji="0" lang="ru-RU" sz="799" b="0" i="0" u="none" strike="noStrike" kern="1200" cap="none" spc="0" normalizeH="0" baseline="0" noProof="0" dirty="0">
              <a:ln>
                <a:noFill/>
              </a:ln>
              <a:solidFill>
                <a:srgbClr val="7F8183">
                  <a:alpha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Текст 11">
            <a:extLst>
              <a:ext uri="{FF2B5EF4-FFF2-40B4-BE49-F238E27FC236}">
                <a16:creationId xmlns:a16="http://schemas.microsoft.com/office/drawing/2014/main" id="{09B5FD01-9745-49BA-A758-8E52F2925487}"/>
              </a:ext>
            </a:extLst>
          </p:cNvPr>
          <p:cNvSpPr txBox="1">
            <a:spLocks/>
          </p:cNvSpPr>
          <p:nvPr/>
        </p:nvSpPr>
        <p:spPr>
          <a:xfrm>
            <a:off x="216421" y="359767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инамика</a:t>
            </a: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2025F564-16AE-4E50-836D-1829BFABB1B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008509" y="1007839"/>
          <a:ext cx="9433048" cy="2364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Диаграмма 4"/>
          <p:cNvGraphicFramePr/>
          <p:nvPr>
            <p:extLst/>
          </p:nvPr>
        </p:nvGraphicFramePr>
        <p:xfrm>
          <a:off x="-143619" y="3372770"/>
          <a:ext cx="5544616" cy="29571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Диаграмма 12"/>
          <p:cNvGraphicFramePr/>
          <p:nvPr>
            <p:extLst/>
          </p:nvPr>
        </p:nvGraphicFramePr>
        <p:xfrm>
          <a:off x="3744813" y="3600127"/>
          <a:ext cx="7056784" cy="2675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cxnSp>
        <p:nvCxnSpPr>
          <p:cNvPr id="3" name="Прямая соединительная линия 2"/>
          <p:cNvCxnSpPr/>
          <p:nvPr/>
        </p:nvCxnSpPr>
        <p:spPr>
          <a:xfrm>
            <a:off x="5473005" y="3600127"/>
            <a:ext cx="0" cy="2520280"/>
          </a:xfrm>
          <a:prstGeom prst="line">
            <a:avLst/>
          </a:prstGeom>
          <a:ln w="38100">
            <a:solidFill>
              <a:schemeClr val="tx1">
                <a:lumMod val="90000"/>
                <a:lumOff val="10000"/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32180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4"/>
          <p:cNvSpPr>
            <a:spLocks noGrp="1"/>
          </p:cNvSpPr>
          <p:nvPr>
            <p:ph type="body" sz="quarter" idx="14"/>
          </p:nvPr>
        </p:nvSpPr>
        <p:spPr>
          <a:xfrm>
            <a:off x="279247" y="371977"/>
            <a:ext cx="4185646" cy="275822"/>
          </a:xfrm>
        </p:spPr>
        <p:txBody>
          <a:bodyPr/>
          <a:lstStyle/>
          <a:p>
            <a:r>
              <a:rPr lang="ru-RU" dirty="0" smtClean="0"/>
              <a:t>Взаимодействие с ПО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ru-RU" sz="800" dirty="0" smtClean="0"/>
              <a:t>День безопасности труда с подрядными организациями</a:t>
            </a:r>
            <a:endParaRPr lang="ru-RU" sz="800" dirty="0"/>
          </a:p>
        </p:txBody>
      </p:sp>
      <p:sp>
        <p:nvSpPr>
          <p:cNvPr id="7" name="TextBox 6"/>
          <p:cNvSpPr txBox="1"/>
          <p:nvPr/>
        </p:nvSpPr>
        <p:spPr>
          <a:xfrm>
            <a:off x="360437" y="1295871"/>
            <a:ext cx="698477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оведение совместных аудитов безопасности с руководителями подрядных организаций.</a:t>
            </a:r>
          </a:p>
          <a:p>
            <a:pPr marL="342900" marR="0" lvl="0" indent="-34290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оведение аудитов безопасности подрядными организациями с регистрацией в системе</a:t>
            </a:r>
            <a:r>
              <a:rPr kumimoji="0" lang="ru-RU" sz="24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АСУБ.</a:t>
            </a: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60000"/>
                  <a:lumOff val="40000"/>
                </a:scheme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342900" marR="0" lvl="0" indent="-34290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исутствие сотрудников Отдела</a:t>
            </a:r>
            <a:r>
              <a:rPr kumimoji="0" lang="ru-RU" sz="24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по работе с подрядными организациями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60000"/>
                    <a:lumOff val="40000"/>
                  </a:scheme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при проведении инструктажей.</a:t>
            </a:r>
          </a:p>
          <a:p>
            <a:pPr marL="342900" marR="0" lvl="0" indent="-34290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lang="ru-RU" sz="2400" dirty="0" smtClean="0">
                <a:solidFill>
                  <a:schemeClr val="bg1">
                    <a:lumMod val="60000"/>
                    <a:lumOff val="40000"/>
                  </a:schemeClr>
                </a:solidFill>
                <a:latin typeface="Verdana" panose="020B0604030504040204"/>
              </a:rPr>
              <a:t>Выявление проблемных мест у подрядной организации и разработка мероприятий по их исключению.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0000"/>
                  <a:lumOff val="40000"/>
                </a:scheme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143" y="3384102"/>
            <a:ext cx="2379729" cy="256891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1143" y="791815"/>
            <a:ext cx="2379729" cy="2520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372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безопасности труда с подрядными организациями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A1584F74-92CE-481B-9F91-C1014731D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232645" y="2520007"/>
            <a:ext cx="10863992" cy="864259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</a:rPr>
              <a:t>Контакт по безопасности</a:t>
            </a:r>
          </a:p>
        </p:txBody>
      </p:sp>
      <p:pic>
        <p:nvPicPr>
          <p:cNvPr id="4" name="Рисунок 3" descr="image00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20477" y="4968279"/>
            <a:ext cx="3086100" cy="1171575"/>
          </a:xfrm>
          <a:prstGeom prst="rect">
            <a:avLst/>
          </a:prstGeom>
        </p:spPr>
      </p:pic>
      <p:pic>
        <p:nvPicPr>
          <p:cNvPr id="5" name="Рисунок 4" descr="unnamed (2).jpg"/>
          <p:cNvPicPr>
            <a:picLocks noChangeAspect="1"/>
          </p:cNvPicPr>
          <p:nvPr/>
        </p:nvPicPr>
        <p:blipFill>
          <a:blip r:embed="rId4" cstate="print">
            <a:grayscl/>
          </a:blip>
          <a:stretch>
            <a:fillRect/>
          </a:stretch>
        </p:blipFill>
        <p:spPr>
          <a:xfrm>
            <a:off x="864493" y="1727919"/>
            <a:ext cx="1296144" cy="2196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3337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11">
            <a:extLst>
              <a:ext uri="{FF2B5EF4-FFF2-40B4-BE49-F238E27FC236}">
                <a16:creationId xmlns:a16="http://schemas.microsoft.com/office/drawing/2014/main" id="{09B5FD01-9745-49BA-A758-8E52F2925487}"/>
              </a:ext>
            </a:extLst>
          </p:cNvPr>
          <p:cNvSpPr txBox="1">
            <a:spLocks/>
          </p:cNvSpPr>
          <p:nvPr/>
        </p:nvSpPr>
        <p:spPr>
          <a:xfrm>
            <a:off x="280086" y="372415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инамика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01C5055E-B13E-4C7B-BA76-044103A34DB6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безопасности труда с подрядными организациями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67B466C-D309-42E8-AD21-B87A879D314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49251" y="632975"/>
            <a:ext cx="10511558" cy="431981"/>
          </a:xfrm>
        </p:spPr>
        <p:txBody>
          <a:bodyPr>
            <a:normAutofit fontScale="77500" lnSpcReduction="20000"/>
          </a:bodyPr>
          <a:lstStyle/>
          <a:p>
            <a:pPr algn="ctr"/>
            <a:r>
              <a:rPr lang="ru-RU" b="1" dirty="0" smtClean="0"/>
              <a:t>Подрядная организация </a:t>
            </a:r>
            <a:r>
              <a:rPr lang="ru-RU" b="1" dirty="0"/>
              <a:t>с отрицательной динамикой изменения коэффициента безопасности за 3</a:t>
            </a:r>
            <a:r>
              <a:rPr lang="ru-RU" b="1" dirty="0" smtClean="0"/>
              <a:t> месяца 2022г.</a:t>
            </a:r>
            <a:endParaRPr lang="ru-RU" b="1" dirty="0"/>
          </a:p>
        </p:txBody>
      </p:sp>
      <p:graphicFrame>
        <p:nvGraphicFramePr>
          <p:cNvPr id="5" name="Диаграмма 4"/>
          <p:cNvGraphicFramePr/>
          <p:nvPr>
            <p:extLst/>
          </p:nvPr>
        </p:nvGraphicFramePr>
        <p:xfrm>
          <a:off x="649251" y="3562940"/>
          <a:ext cx="8592439" cy="27617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2025F564-16AE-4E50-836D-1829BFABB1B2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1008509" y="1007839"/>
          <a:ext cx="9433048" cy="2364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5694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8">
            <a:extLst>
              <a:ext uri="{FF2B5EF4-FFF2-40B4-BE49-F238E27FC236}">
                <a16:creationId xmlns:a16="http://schemas.microsoft.com/office/drawing/2014/main" id="{A1584F74-92CE-481B-9F91-C1014731D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64693" y="2591852"/>
            <a:ext cx="10863992" cy="864259"/>
          </a:xfrm>
        </p:spPr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Комитет по работе с подрядными организациями</a:t>
            </a:r>
            <a:endParaRPr lang="ru-RU" sz="3200" b="1" dirty="0">
              <a:solidFill>
                <a:srgbClr val="C00000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A3ACD4D-CA84-4802-877C-8D9A3FBBF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22" y="1872871"/>
            <a:ext cx="2006818" cy="200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60291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2AF0A-9D74-2A4A-ACA5-D89233384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2133" y="478416"/>
            <a:ext cx="4732082" cy="272252"/>
          </a:xfrm>
        </p:spPr>
        <p:txBody>
          <a:bodyPr/>
          <a:lstStyle/>
          <a:p>
            <a:r>
              <a:rPr lang="ru-RU" sz="1200" b="1" dirty="0">
                <a:solidFill>
                  <a:srgbClr val="C00000"/>
                </a:solidFill>
              </a:rPr>
              <a:t>Комитет по работе с подрядными организациями</a:t>
            </a:r>
            <a:endParaRPr lang="x-none" sz="1200" b="1" dirty="0">
              <a:solidFill>
                <a:srgbClr val="C000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2" t="53586" r="53285" b="27235"/>
          <a:stretch/>
        </p:blipFill>
        <p:spPr>
          <a:xfrm>
            <a:off x="242607" y="372096"/>
            <a:ext cx="519526" cy="484891"/>
          </a:xfrm>
          <a:prstGeom prst="rect">
            <a:avLst/>
          </a:prstGeom>
        </p:spPr>
      </p:pic>
      <p:pic>
        <p:nvPicPr>
          <p:cNvPr id="31" name="Picture 4">
            <a:extLst>
              <a:ext uri="{FF2B5EF4-FFF2-40B4-BE49-F238E27FC236}">
                <a16:creationId xmlns:a16="http://schemas.microsoft.com/office/drawing/2014/main" id="{AA3ACD4D-CA84-4802-877C-8D9A3FBBF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022" y="4006471"/>
            <a:ext cx="2006818" cy="200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62133" y="1121664"/>
            <a:ext cx="7626008" cy="646331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ложение п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работе Комитета П.20-541.712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утвержден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иказом 2000-П-1544/21  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т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27.12.2021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09867" y="2028550"/>
            <a:ext cx="62007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В состав комитета входят представители: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62133" y="2331124"/>
            <a:ext cx="105230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едседатель комитета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безопасности производства (Директор/Начальник отдела по работе с П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Члены комитета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капитальному строительству (Директор/замещающее лиц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материально-техническому обеспечению(Директор/замещающее лиц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ремонту (Директор/замещающее лиц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Дирекции по экономической безопасности (Директор/замещающее лиц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правовым вопросам (Директор/замещающее лицо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-Дирекции по транспортной логистике (Директор/замещающее лицо)</a:t>
            </a:r>
          </a:p>
        </p:txBody>
      </p:sp>
    </p:spTree>
    <p:extLst>
      <p:ext uri="{BB962C8B-B14F-4D97-AF65-F5344CB8AC3E}">
        <p14:creationId xmlns:p14="http://schemas.microsoft.com/office/powerpoint/2010/main" val="3624003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2AF0A-9D74-2A4A-ACA5-D89233384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2133" y="478416"/>
            <a:ext cx="4732082" cy="272252"/>
          </a:xfrm>
        </p:spPr>
        <p:txBody>
          <a:bodyPr/>
          <a:lstStyle/>
          <a:p>
            <a:r>
              <a:rPr lang="ru-RU" sz="1200" b="1" dirty="0">
                <a:solidFill>
                  <a:srgbClr val="C00000"/>
                </a:solidFill>
              </a:rPr>
              <a:t>Комитет по работе с подрядными организациями</a:t>
            </a:r>
            <a:endParaRPr lang="x-none" sz="1200" b="1" dirty="0">
              <a:solidFill>
                <a:srgbClr val="C000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2" t="53586" r="53285" b="27235"/>
          <a:stretch/>
        </p:blipFill>
        <p:spPr>
          <a:xfrm>
            <a:off x="242607" y="372096"/>
            <a:ext cx="519526" cy="484891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93061" y="2943670"/>
            <a:ext cx="72950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Рассмотрение спорных вопросов в области безопасности производств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93061" y="3655214"/>
            <a:ext cx="7295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Выставление штрафных санкций подрядной организации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093061" y="3974879"/>
            <a:ext cx="7295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Возможность перераспределения выставленных штрафов на развитие подрядной организации в области безопасности производства</a:t>
            </a:r>
          </a:p>
        </p:txBody>
      </p:sp>
      <p:pic>
        <p:nvPicPr>
          <p:cNvPr id="31" name="Picture 4">
            <a:extLst>
              <a:ext uri="{FF2B5EF4-FFF2-40B4-BE49-F238E27FC236}">
                <a16:creationId xmlns:a16="http://schemas.microsoft.com/office/drawing/2014/main" id="{AA3ACD4D-CA84-4802-877C-8D9A3FBBF1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5022" y="4006471"/>
            <a:ext cx="2006818" cy="2006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059207" y="4998696"/>
            <a:ext cx="7295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Расторжение договора с подрядной/субподрядной организацией</a:t>
            </a:r>
          </a:p>
        </p:txBody>
      </p:sp>
      <p:pic>
        <p:nvPicPr>
          <p:cNvPr id="4" name="Рисунок 3" descr="Вырезка экрана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467" y="4948257"/>
            <a:ext cx="432746" cy="448451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16F8D37-A131-4FA4-BE45-E8BFC104909F}"/>
              </a:ext>
            </a:extLst>
          </p:cNvPr>
          <p:cNvSpPr txBox="1"/>
          <p:nvPr/>
        </p:nvSpPr>
        <p:spPr>
          <a:xfrm>
            <a:off x="574335" y="1105185"/>
            <a:ext cx="7120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сновные задачи комитета:</a:t>
            </a:r>
          </a:p>
        </p:txBody>
      </p:sp>
      <p:pic>
        <p:nvPicPr>
          <p:cNvPr id="20" name="Рисунок 19" descr="brjyrn - Средство просмотра фотографий Windows">
            <a:extLst>
              <a:ext uri="{FF2B5EF4-FFF2-40B4-BE49-F238E27FC236}">
                <a16:creationId xmlns:a16="http://schemas.microsoft.com/office/drawing/2014/main" id="{FD2902EE-6810-427C-98BB-8E73B9F0638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13" t="40168" r="43648" b="50041"/>
          <a:stretch/>
        </p:blipFill>
        <p:spPr>
          <a:xfrm>
            <a:off x="337467" y="3610309"/>
            <a:ext cx="483772" cy="46585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C60B6A3E-4A9A-40DE-86CD-5F7E887BAEE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82" t="80382" r="14695" b="1976"/>
          <a:stretch/>
        </p:blipFill>
        <p:spPr>
          <a:xfrm>
            <a:off x="303715" y="4256296"/>
            <a:ext cx="541241" cy="495593"/>
          </a:xfrm>
          <a:prstGeom prst="rect">
            <a:avLst/>
          </a:prstGeom>
        </p:spPr>
      </p:pic>
      <p:pic>
        <p:nvPicPr>
          <p:cNvPr id="23" name="Рисунок 22" descr="Вырезка экрана">
            <a:extLst>
              <a:ext uri="{FF2B5EF4-FFF2-40B4-BE49-F238E27FC236}">
                <a16:creationId xmlns:a16="http://schemas.microsoft.com/office/drawing/2014/main" id="{A3BF61B5-324A-4293-B8C2-3EEE39EFB6C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07" y="3077763"/>
            <a:ext cx="602349" cy="44878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93061" y="2332796"/>
            <a:ext cx="67894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вышение уровня безопасности ПО находящихся в нижней части рейтинга.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187" y="2541474"/>
            <a:ext cx="423026" cy="37352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093061" y="1744305"/>
            <a:ext cx="72950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беспечение прозрачности принятия решений в отношении подрядных организаций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2" t="53586" r="53285" b="27235"/>
          <a:stretch/>
        </p:blipFill>
        <p:spPr>
          <a:xfrm>
            <a:off x="395007" y="1772236"/>
            <a:ext cx="519526" cy="484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958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F6A5ECB-6564-4A74-8F21-DDFC18BF46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F6A5ECB-6564-4A74-8F21-DDFC18BF4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656570-E48E-7D49-A33C-2775EEC4FE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9245" y="371976"/>
            <a:ext cx="8908298" cy="272252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Приглашение на комитет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3EAF8E7-FC2B-45C5-ADEE-79CEE9874AA2}"/>
              </a:ext>
            </a:extLst>
          </p:cNvPr>
          <p:cNvSpPr txBox="1"/>
          <p:nvPr/>
        </p:nvSpPr>
        <p:spPr>
          <a:xfrm>
            <a:off x="279246" y="741872"/>
            <a:ext cx="10882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chemeClr val="bg1"/>
                </a:solidFill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эффициент безопасности организаци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B5F747-9ABB-44BC-B855-4CBCC49161A1}"/>
              </a:ext>
            </a:extLst>
          </p:cNvPr>
          <p:cNvSpPr txBox="1"/>
          <p:nvPr/>
        </p:nvSpPr>
        <p:spPr>
          <a:xfrm>
            <a:off x="331712" y="2767805"/>
            <a:ext cx="4496320" cy="341632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нтрагент держится в красной зоне на протяжении двух оценочных периодов и не предпринимает действий для исправления ситуации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нтрагент не предпринимает действий по устранению системных нарушений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тсутствует адекватная реакция контрагента на выявляемые замечания при выполнении обязательств по договору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357912" y="1208848"/>
          <a:ext cx="5541158" cy="1107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705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705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dirty="0" smtClean="0"/>
                        <a:t>От 1 до 1,3</a:t>
                      </a:r>
                      <a:endParaRPr lang="ru-RU" sz="18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От 1,31 до 1,5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57">
                <a:tc>
                  <a:txBody>
                    <a:bodyPr/>
                    <a:lstStyle/>
                    <a:p>
                      <a:r>
                        <a:rPr lang="ru-RU" dirty="0" smtClean="0"/>
                        <a:t>От 1,51 и выш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EE3321"/>
                        </a:solidFill>
                      </a:endParaRPr>
                    </a:p>
                  </a:txBody>
                  <a:tcPr>
                    <a:solidFill>
                      <a:srgbClr val="E927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71B5F747-9ABB-44BC-B855-4CBCC49161A1}"/>
              </a:ext>
            </a:extLst>
          </p:cNvPr>
          <p:cNvSpPr txBox="1"/>
          <p:nvPr/>
        </p:nvSpPr>
        <p:spPr>
          <a:xfrm>
            <a:off x="6612924" y="3737301"/>
            <a:ext cx="4300303" cy="1477328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нтрагент приглашается на заседание Комитета по работе с подрядными организациями и предоставляет план развития организации в области БП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5288591" y="4158973"/>
            <a:ext cx="863774" cy="633984"/>
          </a:xfrm>
          <a:prstGeom prst="rightArrow">
            <a:avLst/>
          </a:prstGeom>
          <a:solidFill>
            <a:srgbClr val="E92721"/>
          </a:solidFill>
          <a:ln>
            <a:solidFill>
              <a:srgbClr val="1921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21030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512AF0A-9D74-2A4A-ACA5-D892333845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2133" y="478416"/>
            <a:ext cx="4732082" cy="272252"/>
          </a:xfrm>
        </p:spPr>
        <p:txBody>
          <a:bodyPr/>
          <a:lstStyle/>
          <a:p>
            <a:r>
              <a:rPr lang="ru-RU" sz="1200" b="1" dirty="0">
                <a:solidFill>
                  <a:srgbClr val="C00000"/>
                </a:solidFill>
              </a:rPr>
              <a:t>Комитет по работе с подрядными организациями</a:t>
            </a:r>
            <a:endParaRPr lang="x-none" sz="1200" b="1" dirty="0">
              <a:solidFill>
                <a:srgbClr val="C000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12" t="53586" r="53285" b="27235"/>
          <a:stretch/>
        </p:blipFill>
        <p:spPr>
          <a:xfrm>
            <a:off x="242607" y="372096"/>
            <a:ext cx="519526" cy="484891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F3A1D8C-152A-476C-83F3-00C2969A0563}"/>
              </a:ext>
            </a:extLst>
          </p:cNvPr>
          <p:cNvSpPr txBox="1"/>
          <p:nvPr/>
        </p:nvSpPr>
        <p:spPr>
          <a:xfrm>
            <a:off x="378941" y="1623158"/>
            <a:ext cx="994307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Wingdings" panose="05000000000000000000" pitchFamily="2" charset="2"/>
              <a:buChar char="v"/>
              <a:defRPr/>
            </a:pPr>
            <a:r>
              <a:rPr lang="ru-RU" sz="1800" dirty="0">
                <a:solidFill>
                  <a:srgbClr val="424242"/>
                </a:solidFill>
              </a:rPr>
              <a:t>Формирование статистики по компаниям из системы АСУБ</a:t>
            </a:r>
            <a:r>
              <a:rPr lang="ru-RU" sz="1800" dirty="0" smtClean="0">
                <a:solidFill>
                  <a:srgbClr val="424242"/>
                </a:solidFill>
              </a:rPr>
              <a:t>.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пределение компаний аутсайдеров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инятие решения о направлении на Комитет.</a:t>
            </a:r>
          </a:p>
          <a:p>
            <a:pPr marL="285750" indent="-285750" defTabSz="914400">
              <a:buFont typeface="Wingdings" panose="05000000000000000000" pitchFamily="2" charset="2"/>
              <a:buChar char="v"/>
              <a:defRPr/>
            </a:pPr>
            <a:r>
              <a:rPr lang="ru-RU" sz="1800" dirty="0">
                <a:solidFill>
                  <a:srgbClr val="424242"/>
                </a:solidFill>
              </a:rPr>
              <a:t>Оповещение Контрагента о необходимости явиться на комитет</a:t>
            </a:r>
            <a:r>
              <a:rPr lang="ru-RU" sz="1800" dirty="0" smtClean="0">
                <a:solidFill>
                  <a:srgbClr val="424242"/>
                </a:solidFill>
              </a:rPr>
              <a:t>.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дготовка шагов развития организации от руководителей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Заслушивание представителя Контраген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инятие решения в отношении Контраген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глашение решения Контрагенту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8A8875-0156-443A-8CF3-1C64D676810E}"/>
              </a:ext>
            </a:extLst>
          </p:cNvPr>
          <p:cNvSpPr txBox="1"/>
          <p:nvPr/>
        </p:nvSpPr>
        <p:spPr>
          <a:xfrm>
            <a:off x="584886" y="4703805"/>
            <a:ext cx="6458465" cy="1200329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Регистрацию нарушений, формирование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тчета. Приглашать Контрагента на комитет по работе с подрядными организациями будут представители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Дирекции по безопасности производства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754AE5-74B0-4649-A990-5140B14F3BFC}"/>
              </a:ext>
            </a:extLst>
          </p:cNvPr>
          <p:cNvSpPr txBox="1"/>
          <p:nvPr/>
        </p:nvSpPr>
        <p:spPr>
          <a:xfrm>
            <a:off x="584886" y="849348"/>
            <a:ext cx="58818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рядок работы Комитета:</a:t>
            </a:r>
          </a:p>
        </p:txBody>
      </p:sp>
    </p:spTree>
    <p:extLst>
      <p:ext uri="{BB962C8B-B14F-4D97-AF65-F5344CB8AC3E}">
        <p14:creationId xmlns:p14="http://schemas.microsoft.com/office/powerpoint/2010/main" val="39187892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5EA5B918-C8C8-4AA6-8CD5-B28810EC995F}"/>
              </a:ext>
            </a:extLst>
          </p:cNvPr>
          <p:cNvSpPr/>
          <p:nvPr/>
        </p:nvSpPr>
        <p:spPr>
          <a:xfrm>
            <a:off x="2592684" y="893763"/>
            <a:ext cx="6264697" cy="5271074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173" dirty="0"/>
          </a:p>
        </p:txBody>
      </p:sp>
      <p:sp>
        <p:nvSpPr>
          <p:cNvPr id="8" name="Текст 11">
            <a:extLst>
              <a:ext uri="{FF2B5EF4-FFF2-40B4-BE49-F238E27FC236}">
                <a16:creationId xmlns:a16="http://schemas.microsoft.com/office/drawing/2014/main" id="{3CE58D10-1A35-4D0F-B1F4-E46EDFB54A82}"/>
              </a:ext>
            </a:extLst>
          </p:cNvPr>
          <p:cNvSpPr txBox="1">
            <a:spLocks/>
          </p:cNvSpPr>
          <p:nvPr/>
        </p:nvSpPr>
        <p:spPr>
          <a:xfrm>
            <a:off x="279246" y="371976"/>
            <a:ext cx="4292754" cy="2722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нструмент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4D8B86-0CD1-407B-93DE-86386F42BC32}"/>
              </a:ext>
            </a:extLst>
          </p:cNvPr>
          <p:cNvSpPr txBox="1"/>
          <p:nvPr/>
        </p:nvSpPr>
        <p:spPr>
          <a:xfrm>
            <a:off x="279246" y="585896"/>
            <a:ext cx="64409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 sz="1200" dirty="0">
                <a:solidFill>
                  <a:srgbClr val="C00000"/>
                </a:solidFill>
              </a:rPr>
              <a:t>Чек-лист «Самооценка рабочего места</a:t>
            </a:r>
            <a:r>
              <a:rPr lang="en-US" sz="1200" dirty="0">
                <a:solidFill>
                  <a:srgbClr val="C00000"/>
                </a:solidFill>
              </a:rPr>
              <a:t>  </a:t>
            </a:r>
            <a:r>
              <a:rPr lang="ru-RU" sz="1200" dirty="0">
                <a:solidFill>
                  <a:srgbClr val="C00000"/>
                </a:solidFill>
              </a:rPr>
              <a:t>Подрядными организациями»</a:t>
            </a: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3602A90F-6A45-4615-879C-E612BC18EA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15082"/>
              </p:ext>
            </p:extLst>
          </p:nvPr>
        </p:nvGraphicFramePr>
        <p:xfrm>
          <a:off x="2664693" y="1478538"/>
          <a:ext cx="5738553" cy="4569861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1643489">
                  <a:extLst>
                    <a:ext uri="{9D8B030D-6E8A-4147-A177-3AD203B41FA5}">
                      <a16:colId xmlns:a16="http://schemas.microsoft.com/office/drawing/2014/main" val="2508265918"/>
                    </a:ext>
                  </a:extLst>
                </a:gridCol>
                <a:gridCol w="179787">
                  <a:extLst>
                    <a:ext uri="{9D8B030D-6E8A-4147-A177-3AD203B41FA5}">
                      <a16:colId xmlns:a16="http://schemas.microsoft.com/office/drawing/2014/main" val="2060322227"/>
                    </a:ext>
                  </a:extLst>
                </a:gridCol>
                <a:gridCol w="199480">
                  <a:extLst>
                    <a:ext uri="{9D8B030D-6E8A-4147-A177-3AD203B41FA5}">
                      <a16:colId xmlns:a16="http://schemas.microsoft.com/office/drawing/2014/main" val="1168595830"/>
                    </a:ext>
                  </a:extLst>
                </a:gridCol>
                <a:gridCol w="1643489">
                  <a:extLst>
                    <a:ext uri="{9D8B030D-6E8A-4147-A177-3AD203B41FA5}">
                      <a16:colId xmlns:a16="http://schemas.microsoft.com/office/drawing/2014/main" val="2253567872"/>
                    </a:ext>
                  </a:extLst>
                </a:gridCol>
                <a:gridCol w="229339">
                  <a:extLst>
                    <a:ext uri="{9D8B030D-6E8A-4147-A177-3AD203B41FA5}">
                      <a16:colId xmlns:a16="http://schemas.microsoft.com/office/drawing/2014/main" val="3035925954"/>
                    </a:ext>
                  </a:extLst>
                </a:gridCol>
                <a:gridCol w="266185">
                  <a:extLst>
                    <a:ext uri="{9D8B030D-6E8A-4147-A177-3AD203B41FA5}">
                      <a16:colId xmlns:a16="http://schemas.microsoft.com/office/drawing/2014/main" val="3561658326"/>
                    </a:ext>
                  </a:extLst>
                </a:gridCol>
                <a:gridCol w="266185">
                  <a:extLst>
                    <a:ext uri="{9D8B030D-6E8A-4147-A177-3AD203B41FA5}">
                      <a16:colId xmlns:a16="http://schemas.microsoft.com/office/drawing/2014/main" val="3484015080"/>
                    </a:ext>
                  </a:extLst>
                </a:gridCol>
                <a:gridCol w="1310599">
                  <a:extLst>
                    <a:ext uri="{9D8B030D-6E8A-4147-A177-3AD203B41FA5}">
                      <a16:colId xmlns:a16="http://schemas.microsoft.com/office/drawing/2014/main" val="3379477452"/>
                    </a:ext>
                  </a:extLst>
                </a:gridCol>
              </a:tblGrid>
              <a:tr h="164524">
                <a:tc>
                  <a:txBody>
                    <a:bodyPr/>
                    <a:lstStyle/>
                    <a:p>
                      <a:pPr marL="60325" marR="43815" algn="ctr">
                        <a:spcBef>
                          <a:spcPts val="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0325" marR="46355" algn="ctr">
                        <a:lnSpc>
                          <a:spcPts val="530"/>
                        </a:lnSpc>
                        <a:spcBef>
                          <a:spcPts val="60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асностей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4610">
                        <a:spcBef>
                          <a:spcPts val="31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spcBef>
                          <a:spcPts val="31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45110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блюдение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р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правления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иском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0485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63500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75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/п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8735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сылка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</a:t>
                      </a:r>
                      <a:r>
                        <a:rPr lang="ru-RU" sz="500" b="1" spc="-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ответствующий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дел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ПР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5646221"/>
                  </a:ext>
                </a:extLst>
              </a:tr>
              <a:tr h="167462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63500" algn="ctr">
                        <a:spcBef>
                          <a:spcPts val="365"/>
                        </a:spcBef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ряд-допуск</a:t>
                      </a:r>
                      <a:r>
                        <a:rPr lang="ru-RU" sz="500" b="1" spc="-3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оценены</a:t>
                      </a:r>
                      <a:r>
                        <a:rPr lang="ru-RU" sz="500" b="1" spc="-3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иски,</a:t>
                      </a:r>
                      <a:r>
                        <a:rPr lang="ru-RU" sz="500" b="1" spc="-3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роприятия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5417195"/>
                  </a:ext>
                </a:extLst>
              </a:tr>
              <a:tr h="2614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5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знакомление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ПР\ТК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0247362"/>
                  </a:ext>
                </a:extLst>
              </a:tr>
              <a:tr h="166875"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Bef>
                          <a:spcPts val="20"/>
                        </a:spcBef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9050" algn="ctr"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ы</a:t>
                      </a:r>
                      <a:r>
                        <a:rPr lang="ru-RU" sz="8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</a:t>
                      </a:r>
                      <a:r>
                        <a:rPr lang="ru-RU" sz="800" b="1" spc="-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ысоте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валификационных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стовере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7616616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ользование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З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1430945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мостей,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есов,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естниц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4858519"/>
                  </a:ext>
                </a:extLst>
              </a:tr>
              <a:tr h="3502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 marR="267335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окументации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еса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паспорт,</a:t>
                      </a:r>
                      <a:r>
                        <a:rPr lang="ru-RU" sz="500" b="1" spc="-1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урнал)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4135106"/>
                  </a:ext>
                </a:extLst>
              </a:tr>
              <a:tr h="1674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гласованность</a:t>
                      </a:r>
                      <a:r>
                        <a:rPr lang="ru-RU" sz="500" b="1" spc="-3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ярустных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904479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раждения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ста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4905765"/>
                  </a:ext>
                </a:extLst>
              </a:tr>
              <a:tr h="1729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725"/>
                        </a:lnSpc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упреждающих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,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lnSpc>
                          <a:spcPts val="590"/>
                        </a:lnSpc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зопасности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3647465"/>
                  </a:ext>
                </a:extLst>
              </a:tr>
              <a:tr h="171575">
                <a:tc rowSpan="9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7465" algn="ctr">
                        <a:spcBef>
                          <a:spcPts val="5"/>
                        </a:spcBef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невые</a:t>
                      </a:r>
                      <a:r>
                        <a:rPr lang="ru-RU" sz="8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ы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75"/>
                        </a:spcBef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валификационных</a:t>
                      </a:r>
                      <a:r>
                        <a:rPr lang="ru-RU" sz="500" b="1" spc="-2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стоверений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1293859"/>
                  </a:ext>
                </a:extLst>
              </a:tr>
              <a:tr h="79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570"/>
                        </a:lnSpc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ользование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З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2619979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блюдающего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2035961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ован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бор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арк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8318196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3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орудования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нструмент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185700"/>
                  </a:ext>
                </a:extLst>
              </a:tr>
              <a:tr h="2573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раждения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ста</a:t>
                      </a:r>
                      <a:r>
                        <a:rPr lang="ru-RU" sz="500" b="1" spc="-2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z="500" b="1" spc="-15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445494"/>
                  </a:ext>
                </a:extLst>
              </a:tr>
              <a:tr h="1729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725"/>
                        </a:lnSpc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упреждающих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,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lnSpc>
                          <a:spcPts val="590"/>
                        </a:lnSpc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зопасност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801003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вичных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редств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жаротуш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740964"/>
                  </a:ext>
                </a:extLst>
              </a:tr>
              <a:tr h="1729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725"/>
                        </a:lnSpc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сто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невых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чищенно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lnSpc>
                          <a:spcPts val="590"/>
                        </a:lnSpc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орючих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териал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484031"/>
                  </a:ext>
                </a:extLst>
              </a:tr>
              <a:tr h="166875"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30"/>
                        </a:spcBef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01600" marR="78740" indent="4445" algn="ctr">
                        <a:lnSpc>
                          <a:spcPct val="108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дъемные</a:t>
                      </a:r>
                      <a:r>
                        <a:rPr lang="ru-RU" sz="800" b="1" spc="-11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оружения</a:t>
                      </a: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валификационных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достоверений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6332995"/>
                  </a:ext>
                </a:extLst>
              </a:tr>
              <a:tr h="1709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75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граждения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еста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оведения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бо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3598850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пец.</a:t>
                      </a:r>
                      <a:r>
                        <a:rPr lang="ru-RU" sz="500" b="1" spc="-1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хник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5691766"/>
                  </a:ext>
                </a:extLst>
              </a:tr>
              <a:tr h="1715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75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справность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ГП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2041608"/>
                  </a:ext>
                </a:extLst>
              </a:tr>
              <a:tr h="79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570"/>
                        </a:lnSpc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"слепых"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он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у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ашинист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4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3345033"/>
                  </a:ext>
                </a:extLst>
              </a:tr>
              <a:tr h="1668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spcBef>
                          <a:spcPts val="360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знакомление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ерсонала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хемами</a:t>
                      </a:r>
                      <a:r>
                        <a:rPr lang="ru-RU" sz="500" b="1" spc="-1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троповк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8380594"/>
                  </a:ext>
                </a:extLst>
              </a:tr>
              <a:tr h="1729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6510">
                        <a:lnSpc>
                          <a:spcPts val="725"/>
                        </a:lnSpc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личие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упреждающих</a:t>
                      </a:r>
                      <a:r>
                        <a:rPr lang="ru-RU" sz="500" b="1" spc="-2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,</a:t>
                      </a:r>
                      <a:r>
                        <a:rPr lang="ru-RU" sz="500" b="1" spc="-25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наков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510">
                        <a:lnSpc>
                          <a:spcPts val="590"/>
                        </a:lnSpc>
                        <a:spcBef>
                          <a:spcPts val="45"/>
                        </a:spcBef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зопасности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5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0643675"/>
                  </a:ext>
                </a:extLst>
              </a:tr>
            </a:tbl>
          </a:graphicData>
        </a:graphic>
      </p:graphicFrame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82B78CE-58DA-431C-BB1E-1E89E49CB49B}"/>
              </a:ext>
            </a:extLst>
          </p:cNvPr>
          <p:cNvSpPr/>
          <p:nvPr/>
        </p:nvSpPr>
        <p:spPr>
          <a:xfrm>
            <a:off x="3055066" y="893763"/>
            <a:ext cx="36853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535" lvl="0">
              <a:spcBef>
                <a:spcPts val="200"/>
              </a:spcBef>
              <a:tabLst>
                <a:tab pos="1460500" algn="l"/>
              </a:tabLst>
            </a:pP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Дата проведения</a:t>
            </a:r>
            <a:r>
              <a:rPr lang="ru-RU" sz="800" b="1" i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i="1" u="sng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	</a:t>
            </a:r>
            <a:endParaRPr lang="ru-RU" sz="8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9535" lvl="0">
              <a:spcBef>
                <a:spcPts val="40"/>
              </a:spcBef>
              <a:tabLst>
                <a:tab pos="1489075" algn="l"/>
              </a:tabLst>
            </a:pP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омер</a:t>
            </a:r>
            <a:r>
              <a:rPr lang="ru-RU" sz="800" b="1" i="1" spc="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/Д</a:t>
            </a:r>
            <a:r>
              <a:rPr lang="ru-RU" sz="800" b="1" i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i="1" u="sng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	</a:t>
            </a:r>
            <a:endParaRPr lang="ru-RU" sz="8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9535" lvl="0">
              <a:spcBef>
                <a:spcPts val="45"/>
              </a:spcBef>
              <a:tabLst>
                <a:tab pos="1832610" algn="l"/>
              </a:tabLst>
            </a:pP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Место</a:t>
            </a:r>
            <a:r>
              <a:rPr lang="ru-RU" sz="800" b="1" i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роведения</a:t>
            </a:r>
            <a:r>
              <a:rPr lang="ru-RU" sz="800" b="1" i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i="1" u="sng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	</a:t>
            </a:r>
            <a:endParaRPr lang="ru-RU" sz="8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89535" lvl="0">
              <a:spcBef>
                <a:spcPts val="45"/>
              </a:spcBef>
              <a:tabLst>
                <a:tab pos="3387090" algn="l"/>
              </a:tabLst>
            </a:pP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Наименование</a:t>
            </a:r>
            <a:r>
              <a:rPr lang="ru-RU" sz="800" b="1" i="1" spc="1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подрядной</a:t>
            </a:r>
            <a:r>
              <a:rPr lang="ru-RU" sz="800" b="1" i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b="1" i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организации</a:t>
            </a:r>
            <a:r>
              <a:rPr lang="ru-RU" sz="800" b="1" spc="-5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ru-RU" sz="800" u="sng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 	</a:t>
            </a:r>
            <a:endParaRPr lang="ru-RU" sz="800" b="1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ень безопасности труда с подрядными организациями</a:t>
            </a:r>
          </a:p>
        </p:txBody>
      </p:sp>
    </p:spTree>
    <p:extLst>
      <p:ext uri="{BB962C8B-B14F-4D97-AF65-F5344CB8AC3E}">
        <p14:creationId xmlns:p14="http://schemas.microsoft.com/office/powerpoint/2010/main" val="37176267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Стрелка вниз 8">
            <a:extLst>
              <a:ext uri="{FF2B5EF4-FFF2-40B4-BE49-F238E27FC236}">
                <a16:creationId xmlns:a16="http://schemas.microsoft.com/office/drawing/2014/main" id="{6E61729B-92DF-4807-B9B4-5ABD0D840BD9}"/>
              </a:ext>
            </a:extLst>
          </p:cNvPr>
          <p:cNvSpPr/>
          <p:nvPr/>
        </p:nvSpPr>
        <p:spPr>
          <a:xfrm rot="16200000">
            <a:off x="4138052" y="2003441"/>
            <a:ext cx="243098" cy="480239"/>
          </a:xfrm>
          <a:prstGeom prst="down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173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57B21519-C1DF-46EE-ACD6-33559370C38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316939" y="1997107"/>
            <a:ext cx="2391388" cy="492907"/>
          </a:xfrm>
          <a:prstGeom prst="rect">
            <a:avLst/>
          </a:prstGeom>
          <a:ln w="38100">
            <a:noFill/>
          </a:ln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585A7D6E-E839-4A45-8F16-6CC70C02A1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27454" y="1897688"/>
            <a:ext cx="2786988" cy="718907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653BF6C-7836-4218-B993-8A5D6E6227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717871" y="4861528"/>
            <a:ext cx="1958391" cy="374442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152AF305-3DCA-443E-AF42-883CDD61CC2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377602" y="4681816"/>
            <a:ext cx="3101526" cy="681480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0EF665E0-ED01-40BF-9E6B-C91E284A0BE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73853" y="3560617"/>
            <a:ext cx="1420268" cy="374442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A00F8D75-0406-4A94-B5A9-CEE65391857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97067" y="3470771"/>
            <a:ext cx="3170662" cy="697608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9C840C3C-8E34-46DA-B569-0FBB98A824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50000"/>
          </a:blip>
          <a:stretch>
            <a:fillRect/>
          </a:stretch>
        </p:blipFill>
        <p:spPr>
          <a:xfrm>
            <a:off x="5047887" y="3608090"/>
            <a:ext cx="495416" cy="282272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989E079F-6BD4-4BF6-A3C2-86D375108FC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814552" y="4881419"/>
            <a:ext cx="495416" cy="282272"/>
          </a:xfrm>
          <a:prstGeom prst="rect">
            <a:avLst/>
          </a:prstGeom>
        </p:spPr>
      </p:pic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ень безопасности труда с подрядными организациями</a:t>
            </a:r>
          </a:p>
        </p:txBody>
      </p:sp>
      <p:sp>
        <p:nvSpPr>
          <p:cNvPr id="8" name="Текст 11">
            <a:extLst>
              <a:ext uri="{FF2B5EF4-FFF2-40B4-BE49-F238E27FC236}">
                <a16:creationId xmlns:a16="http://schemas.microsoft.com/office/drawing/2014/main" id="{3CE58D10-1A35-4D0F-B1F4-E46EDFB54A82}"/>
              </a:ext>
            </a:extLst>
          </p:cNvPr>
          <p:cNvSpPr txBox="1">
            <a:spLocks/>
          </p:cNvSpPr>
          <p:nvPr/>
        </p:nvSpPr>
        <p:spPr>
          <a:xfrm>
            <a:off x="279246" y="371976"/>
            <a:ext cx="4292754" cy="2722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нструменты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24D8B86-0CD1-407B-93DE-86386F42BC32}"/>
              </a:ext>
            </a:extLst>
          </p:cNvPr>
          <p:cNvSpPr txBox="1"/>
          <p:nvPr/>
        </p:nvSpPr>
        <p:spPr>
          <a:xfrm>
            <a:off x="279246" y="644228"/>
            <a:ext cx="64409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 sz="1200" dirty="0">
                <a:solidFill>
                  <a:srgbClr val="C00000"/>
                </a:solidFill>
              </a:rPr>
              <a:t>Чек-лист «Самооценка рабочего места</a:t>
            </a:r>
            <a:r>
              <a:rPr lang="en-US" sz="1200" dirty="0">
                <a:solidFill>
                  <a:srgbClr val="C00000"/>
                </a:solidFill>
              </a:rPr>
              <a:t>  </a:t>
            </a:r>
            <a:r>
              <a:rPr lang="ru-RU" sz="1200" dirty="0">
                <a:solidFill>
                  <a:srgbClr val="C00000"/>
                </a:solidFill>
              </a:rPr>
              <a:t>Подрядными организациями»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CEA69512-F9EB-4158-9DDF-7C4C443588FB}"/>
              </a:ext>
            </a:extLst>
          </p:cNvPr>
          <p:cNvSpPr/>
          <p:nvPr/>
        </p:nvSpPr>
        <p:spPr>
          <a:xfrm>
            <a:off x="1347591" y="2039986"/>
            <a:ext cx="2674927" cy="412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39" b="1" dirty="0">
                <a:solidFill>
                  <a:prstClr val="black"/>
                </a:solidFill>
                <a:latin typeface="Verdana" panose="020B0604030504040204" pitchFamily="34" charset="0"/>
              </a:rPr>
              <a:t>Ответственный за выдачу нарядов-допусков</a:t>
            </a:r>
            <a:endParaRPr lang="ru-RU" sz="2173" b="1" dirty="0">
              <a:solidFill>
                <a:prstClr val="black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6F769358-F3BD-4612-BECC-DBF124C50B60}"/>
              </a:ext>
            </a:extLst>
          </p:cNvPr>
          <p:cNvSpPr/>
          <p:nvPr/>
        </p:nvSpPr>
        <p:spPr>
          <a:xfrm>
            <a:off x="4853172" y="1961726"/>
            <a:ext cx="2751758" cy="572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39" b="1" dirty="0">
                <a:solidFill>
                  <a:prstClr val="black"/>
                </a:solidFill>
                <a:latin typeface="Verdana" panose="020B0604030504040204" pitchFamily="34" charset="0"/>
              </a:rPr>
              <a:t>Обеспечивает выдачу чек-листов «Самооценка рабочего места»</a:t>
            </a:r>
            <a:endParaRPr lang="ru-RU" sz="2173" b="1" dirty="0">
              <a:solidFill>
                <a:prstClr val="black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A0E1692F-98B8-4D54-ABD0-07757E7E6244}"/>
              </a:ext>
            </a:extLst>
          </p:cNvPr>
          <p:cNvSpPr/>
          <p:nvPr/>
        </p:nvSpPr>
        <p:spPr>
          <a:xfrm>
            <a:off x="4768250" y="4925151"/>
            <a:ext cx="1908013" cy="252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39" b="1" dirty="0">
                <a:solidFill>
                  <a:prstClr val="black"/>
                </a:solidFill>
                <a:latin typeface="Verdana" panose="020B0604030504040204" pitchFamily="34" charset="0"/>
              </a:rPr>
              <a:t>Производитель работ</a:t>
            </a:r>
            <a:endParaRPr lang="ru-RU" sz="2173" b="1" dirty="0">
              <a:solidFill>
                <a:prstClr val="black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B883B602-3795-40E7-9721-B08DE491151A}"/>
              </a:ext>
            </a:extLst>
          </p:cNvPr>
          <p:cNvSpPr/>
          <p:nvPr/>
        </p:nvSpPr>
        <p:spPr>
          <a:xfrm>
            <a:off x="7377603" y="4722392"/>
            <a:ext cx="3140235" cy="572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39" b="1" dirty="0">
                <a:solidFill>
                  <a:prstClr val="black"/>
                </a:solidFill>
                <a:latin typeface="Verdana" panose="020B0604030504040204" pitchFamily="34" charset="0"/>
              </a:rPr>
              <a:t>Ежесменно проводит оценку рабочего места с применением чек-листа «Самооценка рабочего места»</a:t>
            </a:r>
            <a:endParaRPr lang="ru-RU" sz="2173" b="1" dirty="0">
              <a:solidFill>
                <a:prstClr val="black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8BF9165-704E-4D9B-9BE3-36E51E11C7E3}"/>
              </a:ext>
            </a:extLst>
          </p:cNvPr>
          <p:cNvSpPr/>
          <p:nvPr/>
        </p:nvSpPr>
        <p:spPr>
          <a:xfrm>
            <a:off x="3532367" y="3629925"/>
            <a:ext cx="1290738" cy="252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39" b="1" dirty="0">
                <a:latin typeface="Verdana" panose="020B0604030504040204" pitchFamily="34" charset="0"/>
              </a:rPr>
              <a:t>Допускающий</a:t>
            </a:r>
            <a:endParaRPr lang="ru-RU" sz="2173" b="1" dirty="0"/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463F828-119F-4F4E-B171-D22E9921A76F}"/>
              </a:ext>
            </a:extLst>
          </p:cNvPr>
          <p:cNvSpPr/>
          <p:nvPr/>
        </p:nvSpPr>
        <p:spPr>
          <a:xfrm>
            <a:off x="5733524" y="3544263"/>
            <a:ext cx="3134205" cy="572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39" b="1" dirty="0">
                <a:latin typeface="Verdana" panose="020B0604030504040204" pitchFamily="34" charset="0"/>
              </a:rPr>
              <a:t>Обеспечивает </a:t>
            </a:r>
            <a:r>
              <a:rPr lang="ru-RU" sz="1039" b="1" dirty="0" smtClean="0">
                <a:latin typeface="Verdana" panose="020B0604030504040204" pitchFamily="34" charset="0"/>
              </a:rPr>
              <a:t>проведение ежесменной </a:t>
            </a:r>
            <a:r>
              <a:rPr lang="ru-RU" sz="1039" b="1" dirty="0">
                <a:latin typeface="Verdana" panose="020B0604030504040204" pitchFamily="34" charset="0"/>
              </a:rPr>
              <a:t>оценки рабочего места производителем работ</a:t>
            </a:r>
            <a:endParaRPr lang="ru-RU" sz="2173" b="1" dirty="0"/>
          </a:p>
        </p:txBody>
      </p:sp>
      <p:pic>
        <p:nvPicPr>
          <p:cNvPr id="38" name="Рисунок 37">
            <a:extLst>
              <a:ext uri="{FF2B5EF4-FFF2-40B4-BE49-F238E27FC236}">
                <a16:creationId xmlns:a16="http://schemas.microsoft.com/office/drawing/2014/main" id="{8DCC935A-A350-492C-8DBD-6598368CEBF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1525" y="581394"/>
            <a:ext cx="1537603" cy="20352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9AA8FDE-0FAB-436D-907A-C721728336E9}"/>
              </a:ext>
            </a:extLst>
          </p:cNvPr>
          <p:cNvSpPr txBox="1"/>
          <p:nvPr/>
        </p:nvSpPr>
        <p:spPr>
          <a:xfrm>
            <a:off x="293635" y="921039"/>
            <a:ext cx="7081997" cy="646331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200" b="1" dirty="0"/>
              <a:t>Основная цель внедрения Чек-Листа Повышение организации безопасного выполнения работ повышенной опасности подрядными организациями</a:t>
            </a:r>
            <a:r>
              <a:rPr lang="en-US" sz="1200" b="1" dirty="0"/>
              <a:t> </a:t>
            </a:r>
            <a:r>
              <a:rPr lang="ru-RU" sz="1200" b="1" dirty="0"/>
              <a:t>за счет проведения самооценки ответственным лицом за безопасное проведение работ от подрядной организации</a:t>
            </a:r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1E795253-E3AA-4DDF-94D5-E6311893BBE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grayscl/>
          </a:blip>
          <a:stretch>
            <a:fillRect/>
          </a:stretch>
        </p:blipFill>
        <p:spPr>
          <a:xfrm>
            <a:off x="3164665" y="4533564"/>
            <a:ext cx="1311157" cy="1404811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590E53BB-35FA-4327-8DF6-C92536C75E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grayscl/>
          </a:blip>
          <a:stretch>
            <a:fillRect/>
          </a:stretch>
        </p:blipFill>
        <p:spPr>
          <a:xfrm>
            <a:off x="293635" y="1596624"/>
            <a:ext cx="940089" cy="153697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E501AC5C-FC85-4F45-8C76-6A144E8F8A3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grayscl/>
          </a:blip>
          <a:stretch>
            <a:fillRect/>
          </a:stretch>
        </p:blipFill>
        <p:spPr>
          <a:xfrm>
            <a:off x="2224576" y="2984177"/>
            <a:ext cx="940089" cy="1536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310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16F8D37-A131-4FA4-BE45-E8BFC104909F}"/>
              </a:ext>
            </a:extLst>
          </p:cNvPr>
          <p:cNvSpPr txBox="1"/>
          <p:nvPr/>
        </p:nvSpPr>
        <p:spPr>
          <a:xfrm>
            <a:off x="762133" y="675271"/>
            <a:ext cx="9041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Установочные совещания с подрядными организациями </a:t>
            </a:r>
          </a:p>
        </p:txBody>
      </p:sp>
      <p:pic>
        <p:nvPicPr>
          <p:cNvPr id="7" name="Рисунок 6" descr="Изображение выглядит как стол&#10;&#10;Автоматически созданное описание">
            <a:extLst>
              <a:ext uri="{FF2B5EF4-FFF2-40B4-BE49-F238E27FC236}">
                <a16:creationId xmlns:a16="http://schemas.microsoft.com/office/drawing/2014/main" id="{CE60F87E-426D-469D-84E4-310F540A9D3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174" y="1310096"/>
            <a:ext cx="6477904" cy="4334480"/>
          </a:xfrm>
          <a:prstGeom prst="rect">
            <a:avLst/>
          </a:prstGeom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4B4FDA7-8FDE-4DF7-9010-6D2BDE719FA3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ень безопасности труда с подрядными организациями</a:t>
            </a:r>
          </a:p>
        </p:txBody>
      </p:sp>
      <p:pic>
        <p:nvPicPr>
          <p:cNvPr id="32" name="Picture 42" descr="http://cdn.onlinewebfonts.com/svg/download_55200.png">
            <a:extLst>
              <a:ext uri="{FF2B5EF4-FFF2-40B4-BE49-F238E27FC236}">
                <a16:creationId xmlns:a16="http://schemas.microsoft.com/office/drawing/2014/main" id="{37FE172C-FCB9-4B66-B77F-DDA06DF406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74" y="679995"/>
            <a:ext cx="361959" cy="36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11">
            <a:extLst>
              <a:ext uri="{FF2B5EF4-FFF2-40B4-BE49-F238E27FC236}">
                <a16:creationId xmlns:a16="http://schemas.microsoft.com/office/drawing/2014/main" id="{139E9BE7-890A-4097-8CE4-8D80690658B7}"/>
              </a:ext>
            </a:extLst>
          </p:cNvPr>
          <p:cNvSpPr txBox="1">
            <a:spLocks/>
          </p:cNvSpPr>
          <p:nvPr/>
        </p:nvSpPr>
        <p:spPr>
          <a:xfrm>
            <a:off x="279246" y="371976"/>
            <a:ext cx="4292754" cy="2722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нструмент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D1ABE14-6EEE-4F87-A498-2571B5A9D640}"/>
              </a:ext>
            </a:extLst>
          </p:cNvPr>
          <p:cNvSpPr txBox="1"/>
          <p:nvPr/>
        </p:nvSpPr>
        <p:spPr>
          <a:xfrm>
            <a:off x="7172536" y="1943943"/>
            <a:ext cx="396044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1800" dirty="0">
                <a:solidFill>
                  <a:srgbClr val="00B050"/>
                </a:solidFill>
              </a:rPr>
              <a:t>Заказчик оповещает Контрагента о необходимости заполнения информационной таблички с кратким описанием работ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1800" dirty="0">
                <a:solidFill>
                  <a:srgbClr val="00B050"/>
                </a:solidFill>
              </a:rPr>
              <a:t>Контрагент обеспечивает своевременное заполнение. 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1800" dirty="0">
                <a:solidFill>
                  <a:srgbClr val="00B050"/>
                </a:solidFill>
              </a:rPr>
              <a:t>Заказчик организовывает встречу Контрагента с представителями Дирекции по безопасности производства.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ru-RU" sz="1800" dirty="0">
                <a:solidFill>
                  <a:srgbClr val="00B050"/>
                </a:solidFill>
              </a:rPr>
              <a:t>Проводится установочное совещание.</a:t>
            </a:r>
          </a:p>
        </p:txBody>
      </p:sp>
    </p:spTree>
    <p:extLst>
      <p:ext uri="{BB962C8B-B14F-4D97-AF65-F5344CB8AC3E}">
        <p14:creationId xmlns:p14="http://schemas.microsoft.com/office/powerpoint/2010/main" val="2801932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716F8D37-A131-4FA4-BE45-E8BFC104909F}"/>
              </a:ext>
            </a:extLst>
          </p:cNvPr>
          <p:cNvSpPr txBox="1"/>
          <p:nvPr/>
        </p:nvSpPr>
        <p:spPr>
          <a:xfrm>
            <a:off x="762133" y="675271"/>
            <a:ext cx="90410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</a:rPr>
              <a:t>Установочные совещания с подрядными организациями 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24B4FDA7-8FDE-4DF7-9010-6D2BDE719FA3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День безопасности труда с подрядными организациями</a:t>
            </a:r>
          </a:p>
        </p:txBody>
      </p:sp>
      <p:pic>
        <p:nvPicPr>
          <p:cNvPr id="32" name="Picture 42" descr="http://cdn.onlinewebfonts.com/svg/download_55200.png">
            <a:extLst>
              <a:ext uri="{FF2B5EF4-FFF2-40B4-BE49-F238E27FC236}">
                <a16:creationId xmlns:a16="http://schemas.microsoft.com/office/drawing/2014/main" id="{37FE172C-FCB9-4B66-B77F-DDA06DF406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174" y="679995"/>
            <a:ext cx="361959" cy="361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Текст 11">
            <a:extLst>
              <a:ext uri="{FF2B5EF4-FFF2-40B4-BE49-F238E27FC236}">
                <a16:creationId xmlns:a16="http://schemas.microsoft.com/office/drawing/2014/main" id="{139E9BE7-890A-4097-8CE4-8D80690658B7}"/>
              </a:ext>
            </a:extLst>
          </p:cNvPr>
          <p:cNvSpPr txBox="1">
            <a:spLocks/>
          </p:cNvSpPr>
          <p:nvPr/>
        </p:nvSpPr>
        <p:spPr>
          <a:xfrm>
            <a:off x="279246" y="371976"/>
            <a:ext cx="4292754" cy="27225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Инструмент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183BE7-35CB-49C5-BB52-31EF342DEE2B}"/>
              </a:ext>
            </a:extLst>
          </p:cNvPr>
          <p:cNvSpPr txBox="1"/>
          <p:nvPr/>
        </p:nvSpPr>
        <p:spPr>
          <a:xfrm>
            <a:off x="400174" y="1169394"/>
            <a:ext cx="5184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Для чего необходимы установочные совещания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7B9A972-690E-4408-B540-4B390BBFBCF4}"/>
              </a:ext>
            </a:extLst>
          </p:cNvPr>
          <p:cNvSpPr txBox="1"/>
          <p:nvPr/>
        </p:nvSpPr>
        <p:spPr>
          <a:xfrm>
            <a:off x="400174" y="1665925"/>
            <a:ext cx="10076428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 smtClean="0"/>
              <a:t>Взаимодействие </a:t>
            </a:r>
            <a:r>
              <a:rPr lang="ru-RU" dirty="0"/>
              <a:t>Контрагента с представителями Дирекции по безопасности производства на начальном этапе выполнения работ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Разъяснение Контрагенту основных требований в области БП, согласно программе установочного совещания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Документальная проверка перед началом выполнения работ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dirty="0"/>
              <a:t>Формирование обратной связи между представителями </a:t>
            </a:r>
            <a:r>
              <a:rPr lang="ru-RU" dirty="0" err="1"/>
              <a:t>ДпБП</a:t>
            </a:r>
            <a:r>
              <a:rPr lang="ru-RU" dirty="0"/>
              <a:t> и Контрагентом. Разработка дорожной карты по взаимодействию и развитию в области БП. Составление профиля организации.</a:t>
            </a:r>
          </a:p>
          <a:p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30616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708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безопасности труда с подрядными организациями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1"/>
          </p:nvPr>
        </p:nvSpPr>
        <p:spPr>
          <a:xfrm>
            <a:off x="119581" y="387322"/>
            <a:ext cx="10801350" cy="973131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>
                <a:solidFill>
                  <a:srgbClr val="C00000"/>
                </a:solidFill>
              </a:rPr>
              <a:t>Безопасность пешеходов в тёмное время суток</a:t>
            </a:r>
            <a:endParaRPr lang="ru-RU" sz="2400" dirty="0">
              <a:solidFill>
                <a:srgbClr val="C000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4533" y="838359"/>
            <a:ext cx="8784976" cy="50987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13809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E747EB-80E9-A941-8F50-6A56F5F8996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>
                <a:solidFill>
                  <a:srgbClr val="7F8183"/>
                </a:solidFill>
              </a:rPr>
              <a:t>Спасибо за внимание!</a:t>
            </a:r>
            <a:endParaRPr lang="x-none" dirty="0">
              <a:solidFill>
                <a:srgbClr val="7F8183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00597" y="5400327"/>
            <a:ext cx="1224136" cy="9361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28589" y="5112295"/>
            <a:ext cx="4752528" cy="122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87950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87193" y="1367878"/>
            <a:ext cx="3201784" cy="439248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29540" y="705828"/>
            <a:ext cx="10277497" cy="4188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тистика ДТП 2021 год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285" y="3744143"/>
            <a:ext cx="2789601" cy="17556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3285" y="1583903"/>
            <a:ext cx="2796820" cy="180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5682" b="84217" l="49450" r="96777">
                        <a14:foregroundMark x1="67767" y1="51010" x2="67767" y2="51010"/>
                        <a14:foregroundMark x1="73113" y1="44444" x2="73113" y2="44444"/>
                        <a14:foregroundMark x1="73899" y1="57576" x2="73899" y2="57576"/>
                        <a14:foregroundMark x1="70362" y1="58081" x2="70362" y2="58081"/>
                        <a14:foregroundMark x1="66824" y1="55303" x2="66824" y2="55303"/>
                        <a14:foregroundMark x1="69733" y1="63258" x2="69733" y2="63258"/>
                        <a14:foregroundMark x1="66824" y1="42424" x2="66824" y2="42424"/>
                        <a14:foregroundMark x1="66116" y1="42298" x2="66116" y2="4229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253" y="4968279"/>
            <a:ext cx="831461" cy="51770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071" b="84470" l="1887" r="48978">
                        <a14:foregroundMark x1="20126" y1="45328" x2="20126" y2="45328"/>
                        <a14:foregroundMark x1="15959" y1="38384" x2="15959" y2="38384"/>
                        <a14:foregroundMark x1="29638" y1="47601" x2="29638" y2="47601"/>
                        <a14:foregroundMark x1="30660" y1="41919" x2="30660" y2="41919"/>
                        <a14:foregroundMark x1="29167" y1="37247" x2="29167" y2="37247"/>
                        <a14:foregroundMark x1="27830" y1="32702" x2="27830" y2="32702"/>
                        <a14:foregroundMark x1="27358" y1="28409" x2="27358" y2="28409"/>
                        <a14:foregroundMark x1="26258" y1="28283" x2="26258" y2="28283"/>
                        <a14:foregroundMark x1="26494" y1="33712" x2="26494" y2="33712"/>
                        <a14:foregroundMark x1="29638" y1="32702" x2="29638" y2="32702"/>
                        <a14:foregroundMark x1="28931" y1="32071" x2="28931" y2="32071"/>
                        <a14:foregroundMark x1="30660" y1="36742" x2="30660" y2="36742"/>
                        <a14:foregroundMark x1="29953" y1="36237" x2="29953" y2="36237"/>
                        <a14:foregroundMark x1="27752" y1="28030" x2="27752" y2="2803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293" y="2806033"/>
            <a:ext cx="864096" cy="53802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10310" y="314250"/>
            <a:ext cx="6256200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езопасность пешеходов в тёмное время суток</a:t>
            </a:r>
            <a:endParaRPr kumimoji="0" lang="ru-RU" sz="23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540" y="1583903"/>
            <a:ext cx="6851320" cy="38884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Овал 11"/>
          <p:cNvSpPr/>
          <p:nvPr/>
        </p:nvSpPr>
        <p:spPr>
          <a:xfrm>
            <a:off x="2520677" y="2419211"/>
            <a:ext cx="1152128" cy="432048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5776148" y="2466320"/>
            <a:ext cx="1152128" cy="432048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742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23"/>
          <p:cNvSpPr/>
          <p:nvPr/>
        </p:nvSpPr>
        <p:spPr>
          <a:xfrm>
            <a:off x="277537" y="4002840"/>
            <a:ext cx="10698278" cy="18647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55343" y="563001"/>
            <a:ext cx="10620472" cy="10995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61192" y="2875359"/>
            <a:ext cx="321581" cy="84874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383" y="2398745"/>
            <a:ext cx="289254" cy="84649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65213" y="1378175"/>
            <a:ext cx="69905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снижает </a:t>
            </a: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иск наезда на пешехода в тёмное время суток в 6,5 </a:t>
            </a:r>
            <a:r>
              <a:rPr kumimoji="0" lang="ru-RU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! </a:t>
            </a:r>
            <a:endParaRPr kumimoji="0" lang="ru-RU" sz="1800" b="1" i="0" u="sng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47370" y="115157"/>
            <a:ext cx="3880806" cy="4413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68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ликер может спасти жизнь!</a:t>
            </a:r>
            <a:endParaRPr kumimoji="0" lang="ru-RU" sz="2268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426546" y="2489859"/>
            <a:ext cx="899605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5-40 м</a:t>
            </a:r>
            <a:endParaRPr kumimoji="0" lang="ru-RU" sz="1701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374983" y="2962137"/>
            <a:ext cx="1012906" cy="3540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о 400 м</a:t>
            </a:r>
            <a:endParaRPr kumimoji="0" lang="ru-RU" sz="1701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V="1">
            <a:off x="3207026" y="2822101"/>
            <a:ext cx="1889867" cy="1"/>
          </a:xfrm>
          <a:prstGeom prst="straightConnector1">
            <a:avLst/>
          </a:prstGeom>
          <a:ln w="762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3296796" y="3315926"/>
            <a:ext cx="3600193" cy="5200"/>
          </a:xfrm>
          <a:prstGeom prst="straightConnector1">
            <a:avLst/>
          </a:prstGeom>
          <a:ln w="762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ятно 1 13"/>
          <p:cNvSpPr/>
          <p:nvPr/>
        </p:nvSpPr>
        <p:spPr>
          <a:xfrm>
            <a:off x="6852211" y="3011044"/>
            <a:ext cx="330562" cy="400539"/>
          </a:xfrm>
          <a:prstGeom prst="irregularSeal1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364" b="99455" l="187" r="9888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9353" y="-498160"/>
            <a:ext cx="2105721" cy="216072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52928" y="730805"/>
            <a:ext cx="9008509" cy="7849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86401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1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ликер</a:t>
            </a:r>
            <a:r>
              <a:rPr kumimoji="0" lang="ru-RU" sz="1701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это специальный аксессуар — катафот, выполненный в форме шеврона, нашивки, брелока, подвески и т. д. со световозвращающими частицами, предназначенный для ношения пешеходами в тёмные часы суток, нанесения на опасные элементы автодороги и участников движения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print">
            <a:grayscl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21" b="99559" l="74" r="100000">
                        <a14:foregroundMark x1="76691" y1="48235" x2="76691" y2="48235"/>
                        <a14:foregroundMark x1="80956" y1="48971" x2="80956" y2="48971"/>
                        <a14:foregroundMark x1="73382" y1="47279" x2="73382" y2="47279"/>
                        <a14:foregroundMark x1="78824" y1="48235" x2="78824" y2="48235"/>
                        <a14:foregroundMark x1="17059" y1="45882" x2="17059" y2="45882"/>
                        <a14:foregroundMark x1="14632" y1="45882" x2="14632" y2="45882"/>
                        <a14:foregroundMark x1="24853" y1="42279" x2="24853" y2="42279"/>
                        <a14:foregroundMark x1="41029" y1="39706" x2="41029" y2="39706"/>
                        <a14:foregroundMark x1="35588" y1="38456" x2="35588" y2="38456"/>
                        <a14:foregroundMark x1="53897" y1="40368" x2="53897" y2="40368"/>
                        <a14:foregroundMark x1="61471" y1="43456" x2="61471" y2="43456"/>
                        <a14:foregroundMark x1="58382" y1="43235" x2="58382" y2="43235"/>
                        <a14:foregroundMark x1="66029" y1="45368" x2="66029" y2="45368"/>
                        <a14:foregroundMark x1="18456" y1="46103" x2="18456" y2="46103"/>
                        <a14:foregroundMark x1="30588" y1="41103" x2="30588" y2="41103"/>
                        <a14:foregroundMark x1="31544" y1="39706" x2="32279" y2="39412"/>
                        <a14:foregroundMark x1="84338" y1="48015" x2="84338" y2="4801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344" t="35942" r="3964" b="29284"/>
          <a:stretch/>
        </p:blipFill>
        <p:spPr>
          <a:xfrm>
            <a:off x="223808" y="2372767"/>
            <a:ext cx="3302522" cy="12303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55343" y="3981424"/>
            <a:ext cx="10620472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он обязывает использовать и обеспечить видимость для водителя СОЭ на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дежде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pPr marL="171450" marR="0" lvl="0" indent="-17145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едвижении в темное время суток по обочине, проезжей части или пересечении автомобильной магистрали, располагающейся за пределами черты села, деревни, города, поселка, определяемой специальными знаками с названием населенного пункта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</a:t>
            </a:r>
          </a:p>
          <a:p>
            <a:pPr marL="171450" marR="0" lvl="0" indent="-17145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 выходе из транспортного средства за городом с целью протирания стекол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ых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других причин, водитель становится пешеходом и обязан иметь на одежде аксессуары или элементы СОЭ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171450" marR="0" lvl="0" indent="-17145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 перемещении по транспортному пути в условиях недостаточной видимости водителя, ограничивающей его обзор в пределах 300 м, например, при снегопаде, дожде или туман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ратите внимание!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 С 18 марта 2022 г.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тупил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действие поправка к Закону от 01.07.2015, согласно которой водители также должны иметь жилеты или куртки-накидки с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Э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838106" y="5706842"/>
            <a:ext cx="324036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менение СОЭ описано в поправках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ДД, Закон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.07.2015.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9"/>
          <a:srcRect l="14232" t="9488" r="27656" b="21990"/>
          <a:stretch/>
        </p:blipFill>
        <p:spPr>
          <a:xfrm>
            <a:off x="7590627" y="1730773"/>
            <a:ext cx="3356594" cy="22263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2984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B55A3CF3-1A1E-441B-9FBC-32F21D06A2C9}"/>
              </a:ext>
            </a:extLst>
          </p:cNvPr>
          <p:cNvSpPr txBox="1">
            <a:spLocks/>
          </p:cNvSpPr>
          <p:nvPr/>
        </p:nvSpPr>
        <p:spPr>
          <a:xfrm>
            <a:off x="9588122" y="5971208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День безопасности труда с подрядными организациями</a:t>
            </a:r>
          </a:p>
        </p:txBody>
      </p:sp>
      <p:sp>
        <p:nvSpPr>
          <p:cNvPr id="7" name="Текст 8">
            <a:extLst>
              <a:ext uri="{FF2B5EF4-FFF2-40B4-BE49-F238E27FC236}">
                <a16:creationId xmlns:a16="http://schemas.microsoft.com/office/drawing/2014/main" id="{A1584F74-92CE-481B-9F91-C1014731D16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84773" y="2664023"/>
            <a:ext cx="9134820" cy="791988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C00000"/>
                </a:solidFill>
              </a:rPr>
              <a:t>Статистика</a:t>
            </a:r>
          </a:p>
        </p:txBody>
      </p:sp>
      <p:sp>
        <p:nvSpPr>
          <p:cNvPr id="4" name="Текст 11">
            <a:extLst>
              <a:ext uri="{FF2B5EF4-FFF2-40B4-BE49-F238E27FC236}">
                <a16:creationId xmlns:a16="http://schemas.microsoft.com/office/drawing/2014/main" id="{27600C3B-5AB0-462C-BDD1-DED5432434FE}"/>
              </a:ext>
            </a:extLst>
          </p:cNvPr>
          <p:cNvSpPr txBox="1">
            <a:spLocks/>
          </p:cNvSpPr>
          <p:nvPr/>
        </p:nvSpPr>
        <p:spPr>
          <a:xfrm>
            <a:off x="280086" y="372415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татистика происшествий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92227E0-887E-4750-B37A-93BF6D83025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grayscl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risscrossEtching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301" r="3155"/>
          <a:stretch/>
        </p:blipFill>
        <p:spPr>
          <a:xfrm>
            <a:off x="864493" y="2132553"/>
            <a:ext cx="2304257" cy="1711111"/>
          </a:xfrm>
          <a:prstGeom prst="rect">
            <a:avLst/>
          </a:prstGeom>
        </p:spPr>
      </p:pic>
      <p:pic>
        <p:nvPicPr>
          <p:cNvPr id="9" name="Рисунок 8" descr="image00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92485" y="4896271"/>
            <a:ext cx="3086100" cy="1171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57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F6A5ECB-6564-4A74-8F21-DDFC18BF46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470" y="208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Слайд think-cell" r:id="rId29" imgW="270" imgH="270" progId="TCLayout.ActiveDocument.1">
                  <p:embed/>
                </p:oleObj>
              </mc:Choice>
              <mc:Fallback>
                <p:oleObj name="Слайд think-cell" r:id="rId29" imgW="270" imgH="27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F6A5ECB-6564-4A74-8F21-DDFC18BF46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470" y="208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0680F9D-A981-4133-93A3-D60528F412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" y="496"/>
            <a:ext cx="158726" cy="15872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656570-E48E-7D49-A33C-2775EEC4FE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0085" y="372415"/>
            <a:ext cx="10704617" cy="493137"/>
          </a:xfrm>
        </p:spPr>
        <p:txBody>
          <a:bodyPr/>
          <a:lstStyle/>
          <a:p>
            <a:r>
              <a:rPr lang="ru-RU" sz="1000" dirty="0">
                <a:solidFill>
                  <a:schemeClr val="bg1"/>
                </a:solidFill>
              </a:rPr>
              <a:t>Итоги работы в области безопасности производства за 2021 год.          Анализ травматизма и происшествий.       </a:t>
            </a:r>
            <a:r>
              <a:rPr lang="ru-RU" sz="1000" b="1" dirty="0">
                <a:solidFill>
                  <a:srgbClr val="C00000"/>
                </a:solidFill>
              </a:rPr>
              <a:t>    </a:t>
            </a:r>
          </a:p>
        </p:txBody>
      </p:sp>
      <p:sp>
        <p:nvSpPr>
          <p:cNvPr id="128" name="Текст 4">
            <a:extLst>
              <a:ext uri="{FF2B5EF4-FFF2-40B4-BE49-F238E27FC236}">
                <a16:creationId xmlns:a16="http://schemas.microsoft.com/office/drawing/2014/main" id="{4B580ABA-5942-45EC-A26A-57B5CB481C87}"/>
              </a:ext>
            </a:extLst>
          </p:cNvPr>
          <p:cNvSpPr txBox="1">
            <a:spLocks/>
          </p:cNvSpPr>
          <p:nvPr/>
        </p:nvSpPr>
        <p:spPr>
          <a:xfrm>
            <a:off x="9742568" y="6227542"/>
            <a:ext cx="1692015" cy="353493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21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нь безопасности ПО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698AAB2B-F8E5-4C9E-92A4-DBD424AEA757}"/>
              </a:ext>
            </a:extLst>
          </p:cNvPr>
          <p:cNvSpPr txBox="1"/>
          <p:nvPr/>
        </p:nvSpPr>
        <p:spPr>
          <a:xfrm>
            <a:off x="314721" y="474418"/>
            <a:ext cx="108807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В 2021 году допущены чрезвычайные происшествия, связанные с работой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дрядных организаций 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325926" y="1546292"/>
            <a:ext cx="10897608" cy="1875396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99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66" name="Диаграмма 65"/>
          <p:cNvGraphicFramePr/>
          <p:nvPr>
            <p:extLst/>
          </p:nvPr>
        </p:nvGraphicFramePr>
        <p:xfrm>
          <a:off x="464126" y="1321147"/>
          <a:ext cx="10807100" cy="16648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67" name="Прямоугольник 66"/>
          <p:cNvSpPr/>
          <p:nvPr>
            <p:custDataLst>
              <p:tags r:id="rId4"/>
            </p:custDataLst>
          </p:nvPr>
        </p:nvSpPr>
        <p:spPr bwMode="auto">
          <a:xfrm>
            <a:off x="798693" y="2891790"/>
            <a:ext cx="1123778" cy="304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799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Чрезвычайные </a:t>
            </a:r>
          </a:p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799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оисшествия</a:t>
            </a:r>
            <a:endParaRPr kumimoji="0" lang="ru-RU" sz="799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5"/>
            </p:custDataLst>
          </p:nvPr>
        </p:nvSpPr>
        <p:spPr bwMode="auto">
          <a:xfrm>
            <a:off x="2372870" y="2891210"/>
            <a:ext cx="1128540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799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Легкие травмы</a:t>
            </a:r>
            <a:endParaRPr kumimoji="0" lang="en-US" altLang="en-US" sz="799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99" b="1" i="0" u="none" strike="noStrike" kern="1200" cap="none" spc="0" normalizeH="0" baseline="0" noProof="0" dirty="0" err="1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1" name="Прямоугольник 70"/>
          <p:cNvSpPr/>
          <p:nvPr>
            <p:custDataLst>
              <p:tags r:id="rId6"/>
            </p:custDataLst>
          </p:nvPr>
        </p:nvSpPr>
        <p:spPr bwMode="auto">
          <a:xfrm>
            <a:off x="3803189" y="2872835"/>
            <a:ext cx="917434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>
                    <a:lumMod val="75000"/>
                  </a:srgb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Микротравм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424242">
                    <a:lumMod val="75000"/>
                  </a:srgb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ы</a:t>
            </a:r>
            <a:endParaRPr kumimoji="0" lang="ru-RU" sz="800" b="0" i="0" u="none" strike="noStrike" kern="1200" cap="none" spc="0" normalizeH="0" baseline="0" noProof="0" dirty="0" err="1">
              <a:ln>
                <a:noFill/>
              </a:ln>
              <a:solidFill>
                <a:srgbClr val="424242">
                  <a:lumMod val="75000"/>
                </a:srgb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7"/>
            </p:custDataLst>
          </p:nvPr>
        </p:nvSpPr>
        <p:spPr bwMode="auto">
          <a:xfrm>
            <a:off x="5579161" y="2891210"/>
            <a:ext cx="280945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7DB954-250B-4DE2-9E46-4C08EC294AFD}" type="datetime'''''''''''''''''''Д''''''''''''''''Т''''П'''''''">
              <a:rPr kumimoji="0" lang="ru-RU" altLang="en-US" sz="799" b="0" i="0" u="none" strike="noStrike" kern="1200" cap="none" spc="0" normalizeH="0" baseline="0" noProof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pPr marL="0" marR="0" lvl="0" indent="0" algn="ctr" defTabSz="91421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ДТП</a:t>
            </a:fld>
            <a:endParaRPr kumimoji="0" lang="ru-RU" sz="799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 bwMode="auto">
          <a:xfrm>
            <a:off x="6595017" y="2871746"/>
            <a:ext cx="1253933" cy="41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DBBE051-1843-49D6-99DC-DBDF9E142772}" type="datetime'Нез''на''''''чи''тельные'' ''прои''с''ш''е''с''''тв''ия'''''">
              <a:rPr kumimoji="0" lang="ru-RU" altLang="en-US" sz="799" b="0" i="0" u="none" strike="noStrike" kern="1200" cap="none" spc="0" normalizeH="0" baseline="0" noProof="0">
                <a:ln>
                  <a:noFill/>
                </a:ln>
                <a:solidFill>
                  <a:srgbClr val="424242">
                    <a:lumMod val="75000"/>
                  </a:srgb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pPr marL="0" marR="0" lvl="0" indent="0" algn="ctr" defTabSz="91421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Незначительные происшествия</a:t>
            </a:fld>
            <a:endParaRPr kumimoji="0" lang="en-US" altLang="en-US" sz="799" b="0" i="0" u="none" strike="noStrike" kern="1200" cap="none" spc="0" normalizeH="0" baseline="0" noProof="0" dirty="0">
              <a:ln>
                <a:noFill/>
              </a:ln>
              <a:solidFill>
                <a:srgbClr val="424242">
                  <a:lumMod val="75000"/>
                </a:srgb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99" b="1" i="0" u="none" strike="noStrike" kern="1200" cap="none" spc="0" normalizeH="0" baseline="0" noProof="0" dirty="0" err="1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8"/>
            </p:custDataLst>
          </p:nvPr>
        </p:nvSpPr>
        <p:spPr bwMode="auto">
          <a:xfrm>
            <a:off x="9919686" y="2912017"/>
            <a:ext cx="442845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799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жар</a:t>
            </a:r>
            <a:endParaRPr kumimoji="0" lang="ru-RU" sz="799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37878" y="1079847"/>
            <a:ext cx="10885656" cy="46384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99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83761" y="1087100"/>
            <a:ext cx="107819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личество происшествий связанных с работой подрядных организаций</a:t>
            </a:r>
          </a:p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по направлениям за первые три месяца 2021/2022г.</a:t>
            </a:r>
          </a:p>
        </p:txBody>
      </p:sp>
      <p:sp>
        <p:nvSpPr>
          <p:cNvPr id="82" name="Прямоугольник 81"/>
          <p:cNvSpPr/>
          <p:nvPr>
            <p:custDataLst>
              <p:tags r:id="rId9"/>
            </p:custDataLst>
          </p:nvPr>
        </p:nvSpPr>
        <p:spPr bwMode="auto">
          <a:xfrm>
            <a:off x="9321066" y="1784417"/>
            <a:ext cx="179360" cy="1333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99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3" name="Прямоугольник 82"/>
          <p:cNvSpPr/>
          <p:nvPr>
            <p:custDataLst>
              <p:tags r:id="rId10"/>
            </p:custDataLst>
          </p:nvPr>
        </p:nvSpPr>
        <p:spPr bwMode="auto">
          <a:xfrm>
            <a:off x="10212402" y="1784417"/>
            <a:ext cx="179360" cy="1333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99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11"/>
            </p:custDataLst>
          </p:nvPr>
        </p:nvSpPr>
        <p:spPr bwMode="auto">
          <a:xfrm>
            <a:off x="9513218" y="1775965"/>
            <a:ext cx="585698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2021 год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12"/>
            </p:custDataLst>
          </p:nvPr>
        </p:nvSpPr>
        <p:spPr bwMode="auto">
          <a:xfrm>
            <a:off x="10411172" y="1770846"/>
            <a:ext cx="585698" cy="15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2022 год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13"/>
            </p:custDataLst>
          </p:nvPr>
        </p:nvSpPr>
        <p:spPr bwMode="auto">
          <a:xfrm>
            <a:off x="8371678" y="2891790"/>
            <a:ext cx="692389" cy="304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DA0908-3649-4B21-BC64-B22B79BBABB4}" type="datetime'''З''''''а''''''''''г''''''о''''р''''''''а''н''''''''и''я'''''">
              <a:rPr kumimoji="0" lang="ru-RU" altLang="en-US" sz="799" b="0" i="0" u="none" strike="noStrike" kern="1200" cap="none" spc="0" normalizeH="0" baseline="0" noProof="0">
                <a:ln>
                  <a:noFill/>
                </a:ln>
                <a:solidFill>
                  <a:srgbClr val="424242">
                    <a:lumMod val="75000"/>
                  </a:srgb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pPr marL="0" marR="0" lvl="0" indent="0" algn="ctr" defTabSz="914216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Загорания</a:t>
            </a:fld>
            <a:endParaRPr kumimoji="0" lang="en-US" altLang="en-US" sz="799" b="0" i="0" u="none" strike="noStrike" kern="1200" cap="none" spc="0" normalizeH="0" baseline="0" noProof="0" dirty="0">
              <a:ln>
                <a:noFill/>
              </a:ln>
              <a:solidFill>
                <a:srgbClr val="424242">
                  <a:lumMod val="75000"/>
                </a:srgb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  <a:p>
            <a:pPr marL="0" marR="0" lvl="0" indent="0" algn="ctr" defTabSz="91421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799" b="1" i="0" u="none" strike="noStrike" kern="1200" cap="none" spc="0" normalizeH="0" baseline="0" noProof="0" dirty="0" err="1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14"/>
            </p:custDataLst>
          </p:nvPr>
        </p:nvSpPr>
        <p:spPr bwMode="auto">
          <a:xfrm>
            <a:off x="1656581" y="5705697"/>
            <a:ext cx="85938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Земляные работы</a:t>
            </a:r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 bwMode="auto">
          <a:xfrm>
            <a:off x="504453" y="5705697"/>
            <a:ext cx="1123950" cy="266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ГП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14984" y="3987014"/>
            <a:ext cx="10908550" cy="2205738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23036" y="3477320"/>
            <a:ext cx="10892446" cy="519075"/>
          </a:xfrm>
          <a:prstGeom prst="rect">
            <a:avLst/>
          </a:prstGeom>
          <a:noFill/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13861" y="3544394"/>
            <a:ext cx="108193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Статистика нарушений ПО п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атегориям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за период с 01.10.2021-31.12.2021/с 01.01.2022-01.04.2022г.(ОпРПО) 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graphicFrame>
        <p:nvGraphicFramePr>
          <p:cNvPr id="42" name="Диаграмма 41"/>
          <p:cNvGraphicFramePr/>
          <p:nvPr>
            <p:extLst/>
          </p:nvPr>
        </p:nvGraphicFramePr>
        <p:xfrm>
          <a:off x="360437" y="4123607"/>
          <a:ext cx="10729192" cy="1654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43" name="Прямоугольник 42"/>
          <p:cNvSpPr/>
          <p:nvPr>
            <p:custDataLst>
              <p:tags r:id="rId16"/>
            </p:custDataLst>
          </p:nvPr>
        </p:nvSpPr>
        <p:spPr bwMode="auto">
          <a:xfrm>
            <a:off x="2592685" y="5705697"/>
            <a:ext cx="1093324" cy="33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борудование и инструменты</a:t>
            </a:r>
            <a:endParaRPr kumimoji="0" lang="en-US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 bwMode="auto">
          <a:xfrm>
            <a:off x="3744813" y="5705697"/>
            <a:ext cx="864095" cy="315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жарная безопасность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 bwMode="auto">
          <a:xfrm>
            <a:off x="5761037" y="5705697"/>
            <a:ext cx="864096" cy="250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>
                    <a:lumMod val="75000"/>
                  </a:srgbClr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Складская безопасность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424242">
                  <a:lumMod val="75000"/>
                </a:srgbClr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6" name="Прямоугольник 45"/>
          <p:cNvSpPr/>
          <p:nvPr>
            <p:custDataLst>
              <p:tags r:id="rId19"/>
            </p:custDataLst>
          </p:nvPr>
        </p:nvSpPr>
        <p:spPr bwMode="auto">
          <a:xfrm>
            <a:off x="6985173" y="5777705"/>
            <a:ext cx="442913" cy="247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СИЗ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4536901" y="5705698"/>
            <a:ext cx="1224136" cy="189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РПО/Высота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20"/>
            </p:custDataLst>
          </p:nvPr>
        </p:nvSpPr>
        <p:spPr bwMode="auto">
          <a:xfrm>
            <a:off x="7777261" y="5777705"/>
            <a:ext cx="78138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Электробезопасность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21"/>
            </p:custDataLst>
          </p:nvPr>
        </p:nvSpPr>
        <p:spPr bwMode="auto">
          <a:xfrm>
            <a:off x="9001397" y="5705697"/>
            <a:ext cx="5040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Условия труда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0" name="Прямоугольник 49"/>
          <p:cNvSpPr/>
          <p:nvPr>
            <p:custDataLst>
              <p:tags r:id="rId22"/>
            </p:custDataLst>
          </p:nvPr>
        </p:nvSpPr>
        <p:spPr bwMode="auto">
          <a:xfrm>
            <a:off x="10009509" y="5705697"/>
            <a:ext cx="504056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ром. безопасность</a:t>
            </a:r>
            <a:endParaRPr kumimoji="0" lang="en-US" altLang="en-US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23"/>
            </p:custDataLst>
          </p:nvPr>
        </p:nvSpPr>
        <p:spPr bwMode="auto">
          <a:xfrm>
            <a:off x="10096883" y="3857568"/>
            <a:ext cx="179388" cy="11670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24"/>
            </p:custDataLst>
          </p:nvPr>
        </p:nvSpPr>
        <p:spPr bwMode="auto">
          <a:xfrm>
            <a:off x="9244625" y="3830089"/>
            <a:ext cx="58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01.10-31.12</a:t>
            </a:r>
            <a:endParaRPr kumimoji="0" lang="ru-RU" sz="10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25"/>
            </p:custDataLst>
          </p:nvPr>
        </p:nvSpPr>
        <p:spPr bwMode="auto">
          <a:xfrm>
            <a:off x="10295682" y="3843995"/>
            <a:ext cx="58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01.01-01.04</a:t>
            </a:r>
          </a:p>
        </p:txBody>
      </p:sp>
      <p:sp>
        <p:nvSpPr>
          <p:cNvPr id="54" name="Прямоугольник 53"/>
          <p:cNvSpPr/>
          <p:nvPr>
            <p:custDataLst>
              <p:tags r:id="rId26"/>
            </p:custDataLst>
          </p:nvPr>
        </p:nvSpPr>
        <p:spPr bwMode="auto">
          <a:xfrm>
            <a:off x="9061293" y="3849139"/>
            <a:ext cx="179388" cy="1333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5" name="Текст 11">
            <a:extLst>
              <a:ext uri="{FF2B5EF4-FFF2-40B4-BE49-F238E27FC236}">
                <a16:creationId xmlns:a16="http://schemas.microsoft.com/office/drawing/2014/main" id="{27600C3B-5AB0-462C-BDD1-DED5432434FE}"/>
              </a:ext>
            </a:extLst>
          </p:cNvPr>
          <p:cNvSpPr txBox="1">
            <a:spLocks/>
          </p:cNvSpPr>
          <p:nvPr/>
        </p:nvSpPr>
        <p:spPr>
          <a:xfrm>
            <a:off x="274588" y="122361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татистика происшествий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2664693" y="2231975"/>
            <a:ext cx="0" cy="3600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2664693" y="2228804"/>
            <a:ext cx="720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 flipV="1">
            <a:off x="6985173" y="1847034"/>
            <a:ext cx="0" cy="38177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5632393" y="1727919"/>
            <a:ext cx="12272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3694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F6A5ECB-6564-4A74-8F21-DDFC18BF46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Слайд think-cell" r:id="rId12" imgW="360" imgH="360" progId="">
                  <p:embed/>
                </p:oleObj>
              </mc:Choice>
              <mc:Fallback>
                <p:oleObj name="Слайд think-cell" r:id="rId12" imgW="360" imgH="360" progId="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9F6A5ECB-6564-4A74-8F21-DDFC18BF46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10680F9D-A981-4133-93A3-D60528F412A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  <a:sym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656570-E48E-7D49-A33C-2775EEC4FE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9245" y="371976"/>
            <a:ext cx="10706256" cy="493212"/>
          </a:xfrm>
        </p:spPr>
        <p:txBody>
          <a:bodyPr/>
          <a:lstStyle/>
          <a:p>
            <a:r>
              <a:rPr lang="ru-RU" sz="1000" dirty="0">
                <a:solidFill>
                  <a:schemeClr val="bg1"/>
                </a:solidFill>
              </a:rPr>
              <a:t>Итоги работы в области безопасности производства за 2021 </a:t>
            </a:r>
            <a:r>
              <a:rPr lang="ru-RU" sz="1000" dirty="0" smtClean="0">
                <a:solidFill>
                  <a:schemeClr val="bg1"/>
                </a:solidFill>
              </a:rPr>
              <a:t>год.          Анализ </a:t>
            </a:r>
            <a:r>
              <a:rPr lang="ru-RU" sz="1000" dirty="0">
                <a:solidFill>
                  <a:schemeClr val="bg1"/>
                </a:solidFill>
              </a:rPr>
              <a:t>травматизма и происшествий. </a:t>
            </a:r>
            <a:r>
              <a:rPr lang="ru-RU" sz="1000" dirty="0" smtClean="0">
                <a:solidFill>
                  <a:schemeClr val="bg1"/>
                </a:solidFill>
              </a:rPr>
              <a:t>      </a:t>
            </a:r>
            <a:r>
              <a:rPr lang="ru-RU" sz="1000" b="1" dirty="0" smtClean="0">
                <a:solidFill>
                  <a:srgbClr val="C00000"/>
                </a:solidFill>
              </a:rPr>
              <a:t>    </a:t>
            </a:r>
            <a:endParaRPr lang="ru-RU" sz="1000" b="1" dirty="0">
              <a:solidFill>
                <a:srgbClr val="C00000"/>
              </a:solidFill>
            </a:endParaRPr>
          </a:p>
        </p:txBody>
      </p:sp>
      <p:sp>
        <p:nvSpPr>
          <p:cNvPr id="128" name="Текст 4">
            <a:extLst>
              <a:ext uri="{FF2B5EF4-FFF2-40B4-BE49-F238E27FC236}">
                <a16:creationId xmlns:a16="http://schemas.microsoft.com/office/drawing/2014/main" id="{4B580ABA-5942-45EC-A26A-57B5CB481C87}"/>
              </a:ext>
            </a:extLst>
          </p:cNvPr>
          <p:cNvSpPr txBox="1">
            <a:spLocks/>
          </p:cNvSpPr>
          <p:nvPr/>
        </p:nvSpPr>
        <p:spPr>
          <a:xfrm>
            <a:off x="9579795" y="5971625"/>
            <a:ext cx="1692274" cy="353547"/>
          </a:xfrm>
          <a:prstGeom prst="rect">
            <a:avLst/>
          </a:prstGeom>
        </p:spPr>
        <p:txBody>
          <a:bodyPr/>
          <a:lstStyle>
            <a:lvl1pPr marL="0" indent="0" algn="r" defTabSz="914400" rtl="0" eaLnBrk="1" latinLnBrk="0" hangingPunct="1">
              <a:spcBef>
                <a:spcPct val="20000"/>
              </a:spcBef>
              <a:buFontTx/>
              <a:buNone/>
              <a:defRPr sz="800" b="0" i="0" kern="1200">
                <a:solidFill>
                  <a:srgbClr val="7F8183">
                    <a:alpha val="50000"/>
                  </a:srgb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День безопасности </a:t>
            </a:r>
            <a:r>
              <a:rPr kumimoji="0" lang="ru-RU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8183">
                    <a:alpha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7F8183">
                  <a:alpha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424578" y="649957"/>
            <a:ext cx="4712640" cy="2518121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288429" y="649958"/>
            <a:ext cx="44644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личество наблюдений на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дрядные организации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за период(ОпРПО)</a:t>
            </a:r>
          </a:p>
        </p:txBody>
      </p:sp>
      <p:sp>
        <p:nvSpPr>
          <p:cNvPr id="83" name="Прямоугольник 82"/>
          <p:cNvSpPr/>
          <p:nvPr>
            <p:custDataLst>
              <p:tags r:id="rId4"/>
            </p:custDataLst>
          </p:nvPr>
        </p:nvSpPr>
        <p:spPr bwMode="auto">
          <a:xfrm>
            <a:off x="3816821" y="1154014"/>
            <a:ext cx="179388" cy="1333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graphicFrame>
        <p:nvGraphicFramePr>
          <p:cNvPr id="40" name="Диаграмма 39"/>
          <p:cNvGraphicFramePr/>
          <p:nvPr>
            <p:extLst/>
          </p:nvPr>
        </p:nvGraphicFramePr>
        <p:xfrm>
          <a:off x="504453" y="1152537"/>
          <a:ext cx="4464496" cy="172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41" name="Прямоугольник 40"/>
          <p:cNvSpPr/>
          <p:nvPr>
            <p:custDataLst>
              <p:tags r:id="rId5"/>
            </p:custDataLst>
          </p:nvPr>
        </p:nvSpPr>
        <p:spPr bwMode="auto">
          <a:xfrm>
            <a:off x="270648" y="2996929"/>
            <a:ext cx="343138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жарная безопасность(подкатегории)</a:t>
            </a:r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6"/>
            </p:custDataLst>
          </p:nvPr>
        </p:nvSpPr>
        <p:spPr bwMode="auto">
          <a:xfrm>
            <a:off x="2952725" y="1154014"/>
            <a:ext cx="58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01.10-31.12</a:t>
            </a:r>
            <a:endParaRPr kumimoji="0" lang="ru-RU" sz="10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7"/>
            </p:custDataLst>
          </p:nvPr>
        </p:nvSpPr>
        <p:spPr bwMode="auto">
          <a:xfrm>
            <a:off x="2736701" y="1154014"/>
            <a:ext cx="179388" cy="13335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 err="1" smtClean="0">
              <a:ln>
                <a:noFill/>
              </a:ln>
              <a:solidFill>
                <a:srgbClr val="424242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8"/>
            </p:custDataLst>
          </p:nvPr>
        </p:nvSpPr>
        <p:spPr bwMode="auto">
          <a:xfrm>
            <a:off x="4032845" y="1154014"/>
            <a:ext cx="5857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24242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01.01-01.04</a:t>
            </a:r>
          </a:p>
        </p:txBody>
      </p:sp>
      <p:sp>
        <p:nvSpPr>
          <p:cNvPr id="25" name="Текст 11">
            <a:extLst>
              <a:ext uri="{FF2B5EF4-FFF2-40B4-BE49-F238E27FC236}">
                <a16:creationId xmlns:a16="http://schemas.microsoft.com/office/drawing/2014/main" id="{27600C3B-5AB0-462C-BDD1-DED5432434FE}"/>
              </a:ext>
            </a:extLst>
          </p:cNvPr>
          <p:cNvSpPr txBox="1">
            <a:spLocks/>
          </p:cNvSpPr>
          <p:nvPr/>
        </p:nvSpPr>
        <p:spPr>
          <a:xfrm>
            <a:off x="288429" y="84163"/>
            <a:ext cx="4292096" cy="27221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100" b="0" i="0" kern="1200">
                <a:solidFill>
                  <a:srgbClr val="7F818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Статистик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818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наблюдений(ПБ)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7F818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/>
          </p:nvPr>
        </p:nvGraphicFramePr>
        <p:xfrm>
          <a:off x="5149614" y="989511"/>
          <a:ext cx="2851219" cy="2086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29" name="Диаграмма 28"/>
          <p:cNvGraphicFramePr/>
          <p:nvPr>
            <p:extLst/>
          </p:nvPr>
        </p:nvGraphicFramePr>
        <p:xfrm>
          <a:off x="7939278" y="983835"/>
          <a:ext cx="2683860" cy="2064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5400997" y="649958"/>
            <a:ext cx="5400600" cy="2518120"/>
          </a:xfrm>
          <a:prstGeom prst="rect">
            <a:avLst/>
          </a:prstGeom>
          <a:noFill/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509008" y="649958"/>
            <a:ext cx="48605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Количество наблюдений(по рискам) за период(</a:t>
            </a:r>
            <a:r>
              <a:rPr kumimoji="0" lang="ru-RU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ОпРПО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)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8065293" y="1219471"/>
            <a:ext cx="21190" cy="1661258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>
            <p:custDataLst>
              <p:tags r:id="rId9"/>
            </p:custDataLst>
          </p:nvPr>
        </p:nvSpPr>
        <p:spPr bwMode="auto">
          <a:xfrm>
            <a:off x="5282551" y="2991170"/>
            <a:ext cx="280393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5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Verdana" panose="020B0604030504040204"/>
                <a:ea typeface="+mn-ea"/>
                <a:cs typeface="+mn-cs"/>
              </a:rPr>
              <a:t>Пожарная безопасность(Риски)</a:t>
            </a:r>
            <a:endParaRPr kumimoji="0" lang="en-US" altLang="en-US" sz="1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Verdana" panose="020B060403050404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46559" y="3821428"/>
            <a:ext cx="2111259" cy="338554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невые работы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43768" y="4820678"/>
            <a:ext cx="1474260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есто не очищено от горючих материалов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94480" y="4820678"/>
            <a:ext cx="1152128" cy="430887"/>
          </a:xfrm>
          <a:prstGeom prst="rect">
            <a:avLst/>
          </a:prstGeom>
          <a:solidFill>
            <a:srgbClr val="F4F0AA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бор сварочных огарков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615188" y="4820679"/>
            <a:ext cx="1212386" cy="43088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сутствие наблюдающего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2623295" y="4248200"/>
            <a:ext cx="357788" cy="360930"/>
          </a:xfrm>
          <a:prstGeom prst="downArrow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934633" y="1419400"/>
            <a:ext cx="864096" cy="1440842"/>
          </a:xfrm>
          <a:prstGeom prst="rect">
            <a:avLst/>
          </a:prstGeom>
          <a:noFill/>
          <a:ln w="63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24578" y="3384103"/>
            <a:ext cx="10377019" cy="252028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0219" y="4644243"/>
            <a:ext cx="4288730" cy="755401"/>
          </a:xfrm>
          <a:prstGeom prst="rect">
            <a:avLst/>
          </a:prstGeom>
          <a:noFill/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521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1" name="Диаграмма 30"/>
          <p:cNvGraphicFramePr/>
          <p:nvPr>
            <p:extLst/>
          </p:nvPr>
        </p:nvGraphicFramePr>
        <p:xfrm>
          <a:off x="5347634" y="3546769"/>
          <a:ext cx="5112568" cy="2067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</p:spTree>
    <p:extLst>
      <p:ext uri="{BB962C8B-B14F-4D97-AF65-F5344CB8AC3E}">
        <p14:creationId xmlns:p14="http://schemas.microsoft.com/office/powerpoint/2010/main" val="590523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hCaRInTj1aPFOe53ug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KzOLhPA6FGj6oNDGC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JjzWaO8GCOKjhsV93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wiOKRFDc8Xj_CVYKh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xRwTsGRUZ8BdGaRIT3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NVgaHpkqQyC_Zj9guH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hynIiuy6CvxTHqvy5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aRsq2nzv8jt9Uqozi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hCaRInTj1aPFOe53ug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qgcPMwCEjuyt8PvJn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KzOLhPA6FGj6oNDGC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XJjzWaO8GCOKjhsV93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aaRsq2nzv8jt9UqoziR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xRwTsGRUZ8BdGaRIT3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NVgaHpkqQyC_Zj9gu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hynIiuy6CvxTHqvy5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wiOKRFDc8Xj_CVYKh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Ap32ETldMA9QmM9Nuh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xRwTsGRUZ8BdGaRIT3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XNVgaHpkqQyC_Zj9gu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wiOKRFDc8Xj_CVYKhx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ghynIiuy6CvxTHqvy5c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dRp82sNkyFE5fLH9a4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FxSp3DxhcFgiBStjHr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FUewDJTl.QiIpJmdVc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Ap32ETldMA9QmM9Nuh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QqgcPMwCEjuyt8PvJnL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15 column">
  <a:themeElements>
    <a:clrScheme name="Custom 79">
      <a:dk1>
        <a:srgbClr val="424242"/>
      </a:dk1>
      <a:lt1>
        <a:srgbClr val="424242"/>
      </a:lt1>
      <a:dk2>
        <a:srgbClr val="424242"/>
      </a:dk2>
      <a:lt2>
        <a:srgbClr val="424242"/>
      </a:lt2>
      <a:accent1>
        <a:srgbClr val="7A7D7F"/>
      </a:accent1>
      <a:accent2>
        <a:srgbClr val="D0D5DA"/>
      </a:accent2>
      <a:accent3>
        <a:srgbClr val="E92721"/>
      </a:accent3>
      <a:accent4>
        <a:srgbClr val="A9A9A9"/>
      </a:accent4>
      <a:accent5>
        <a:srgbClr val="797979"/>
      </a:accent5>
      <a:accent6>
        <a:srgbClr val="424242"/>
      </a:accent6>
      <a:hlink>
        <a:srgbClr val="E21D0F"/>
      </a:hlink>
      <a:folHlink>
        <a:srgbClr val="18212C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" id="{334D0C1A-514E-0440-A6C1-12D06AEE0E8F}" vid="{3D2ED8D7-6BB6-EE43-A177-AE2CD9A63D24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15 column">
  <a:themeElements>
    <a:clrScheme name="Custom 79">
      <a:dk1>
        <a:srgbClr val="424242"/>
      </a:dk1>
      <a:lt1>
        <a:srgbClr val="424242"/>
      </a:lt1>
      <a:dk2>
        <a:srgbClr val="424242"/>
      </a:dk2>
      <a:lt2>
        <a:srgbClr val="424242"/>
      </a:lt2>
      <a:accent1>
        <a:srgbClr val="7A7D7F"/>
      </a:accent1>
      <a:accent2>
        <a:srgbClr val="D0D5DA"/>
      </a:accent2>
      <a:accent3>
        <a:srgbClr val="E92721"/>
      </a:accent3>
      <a:accent4>
        <a:srgbClr val="A9A9A9"/>
      </a:accent4>
      <a:accent5>
        <a:srgbClr val="797979"/>
      </a:accent5>
      <a:accent6>
        <a:srgbClr val="424242"/>
      </a:accent6>
      <a:hlink>
        <a:srgbClr val="E21D0F"/>
      </a:hlink>
      <a:folHlink>
        <a:srgbClr val="18212C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50000"/>
          </a:schemeClr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90000"/>
              <a:lumOff val="10000"/>
              <a:alpha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Default Theme" id="{334D0C1A-514E-0440-A6C1-12D06AEE0E8F}" vid="{3D2ED8D7-6BB6-EE43-A177-AE2CD9A63D24}"/>
    </a:ext>
  </a:ext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515</TotalTime>
  <Words>5006</Words>
  <Application>Microsoft Office PowerPoint</Application>
  <PresentationFormat>Произвольный</PresentationFormat>
  <Paragraphs>596</Paragraphs>
  <Slides>40</Slides>
  <Notes>3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0</vt:i4>
      </vt:variant>
    </vt:vector>
  </HeadingPairs>
  <TitlesOfParts>
    <vt:vector size="57" baseType="lpstr">
      <vt:lpstr>Arial</vt:lpstr>
      <vt:lpstr>Arial Black</vt:lpstr>
      <vt:lpstr>Calibri</vt:lpstr>
      <vt:lpstr>Calibri Light</vt:lpstr>
      <vt:lpstr>Neo Sans Cyr Medium</vt:lpstr>
      <vt:lpstr>Times New Roman</vt:lpstr>
      <vt:lpstr>Verdana</vt:lpstr>
      <vt:lpstr>Wingdings</vt:lpstr>
      <vt:lpstr>Тема Office</vt:lpstr>
      <vt:lpstr>1_Тема Office</vt:lpstr>
      <vt:lpstr>2_15 column</vt:lpstr>
      <vt:lpstr>3_Тема Office</vt:lpstr>
      <vt:lpstr>3_15 column</vt:lpstr>
      <vt:lpstr>2_Тема Office</vt:lpstr>
      <vt:lpstr>4_Тема Office</vt:lpstr>
      <vt:lpstr>5_Тема Office</vt:lpstr>
      <vt:lpstr>Слайд think-cell</vt:lpstr>
      <vt:lpstr>День безопасности труда</vt:lpstr>
      <vt:lpstr>Повестка Дня безопасности труда с П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авила безопасного использования фейерверков</dc:title>
  <dc:creator>Andrey</dc:creator>
  <cp:lastModifiedBy>Горлов Андрей Сергеевич</cp:lastModifiedBy>
  <cp:revision>337</cp:revision>
  <dcterms:created xsi:type="dcterms:W3CDTF">2021-12-08T16:25:22Z</dcterms:created>
  <dcterms:modified xsi:type="dcterms:W3CDTF">2022-04-25T13:30:39Z</dcterms:modified>
</cp:coreProperties>
</file>